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7" r:id="rId2"/>
  </p:sldMasterIdLst>
  <p:notesMasterIdLst>
    <p:notesMasterId r:id="rId11"/>
  </p:notesMasterIdLst>
  <p:sldIdLst>
    <p:sldId id="256" r:id="rId3"/>
    <p:sldId id="260" r:id="rId4"/>
    <p:sldId id="262" r:id="rId5"/>
    <p:sldId id="259" r:id="rId6"/>
    <p:sldId id="261" r:id="rId7"/>
    <p:sldId id="257" r:id="rId8"/>
    <p:sldId id="264" r:id="rId9"/>
    <p:sldId id="263" r:id="rId10"/>
  </p:sldIdLst>
  <p:sldSz cx="12192000" cy="6858000"/>
  <p:notesSz cx="6761163" cy="98821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9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58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58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5EA25A-3C10-4AAB-B29D-CF43090AC53D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1235075"/>
            <a:ext cx="5929313" cy="3335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55803"/>
            <a:ext cx="5408930" cy="38911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86364"/>
            <a:ext cx="2929837" cy="495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386364"/>
            <a:ext cx="2929837" cy="495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F68EC8-58A6-4E0B-BD81-ACB8A4B18E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94137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D4969-BADF-40A8-9B13-4FEDA6B1EA6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7323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374658">
              <a:defRPr/>
            </a:pPr>
            <a:fld id="{827532A2-DA06-744D-9B20-9C50BFCC3550}" type="slidenum">
              <a:rPr lang="en-US" sz="600">
                <a:solidFill>
                  <a:prstClr val="black"/>
                </a:solidFill>
                <a:latin typeface="Calibri" panose="020F0502020204030204"/>
              </a:rPr>
              <a:pPr defTabSz="374658">
                <a:defRPr/>
              </a:pPr>
              <a:t>2</a:t>
            </a:fld>
            <a:endParaRPr lang="en-US" sz="6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223820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374658">
              <a:defRPr/>
            </a:pPr>
            <a:fld id="{827532A2-DA06-744D-9B20-9C50BFCC3550}" type="slidenum">
              <a:rPr lang="en-US" sz="600">
                <a:solidFill>
                  <a:prstClr val="black"/>
                </a:solidFill>
                <a:latin typeface="Calibri" panose="020F0502020204030204"/>
              </a:rPr>
              <a:pPr defTabSz="374658">
                <a:defRPr/>
              </a:pPr>
              <a:t>3</a:t>
            </a:fld>
            <a:endParaRPr lang="en-US" sz="6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08458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374658">
              <a:defRPr/>
            </a:pPr>
            <a:fld id="{827532A2-DA06-744D-9B20-9C50BFCC3550}" type="slidenum">
              <a:rPr lang="en-US" sz="600">
                <a:solidFill>
                  <a:prstClr val="black"/>
                </a:solidFill>
                <a:latin typeface="Calibri" panose="020F0502020204030204"/>
              </a:rPr>
              <a:pPr defTabSz="374658">
                <a:defRPr/>
              </a:pPr>
              <a:t>4</a:t>
            </a:fld>
            <a:endParaRPr lang="en-US" sz="6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10623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374658">
              <a:defRPr/>
            </a:pPr>
            <a:fld id="{827532A2-DA06-744D-9B20-9C50BFCC3550}" type="slidenum">
              <a:rPr lang="en-US" sz="600">
                <a:solidFill>
                  <a:prstClr val="black"/>
                </a:solidFill>
                <a:latin typeface="Calibri" panose="020F0502020204030204"/>
              </a:rPr>
              <a:pPr defTabSz="374658">
                <a:defRPr/>
              </a:pPr>
              <a:t>5</a:t>
            </a:fld>
            <a:endParaRPr lang="en-US" sz="6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50226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376995">
              <a:defRPr/>
            </a:pPr>
            <a:fld id="{827532A2-DA06-744D-9B20-9C50BFCC3550}" type="slidenum">
              <a:rPr lang="en-US" sz="600">
                <a:solidFill>
                  <a:prstClr val="black"/>
                </a:solidFill>
                <a:latin typeface="Calibri" panose="020F0502020204030204"/>
              </a:rPr>
              <a:pPr defTabSz="376995">
                <a:defRPr/>
              </a:pPr>
              <a:t>6</a:t>
            </a:fld>
            <a:endParaRPr lang="en-US" sz="6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18830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png"/><Relationship Id="rId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7724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783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457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екст">
    <p:bg>
      <p:bgPr>
        <a:gradFill>
          <a:gsLst>
            <a:gs pos="98907">
              <a:srgbClr val="007AFF">
                <a:alpha val="80000"/>
              </a:srgbClr>
            </a:gs>
            <a:gs pos="50000">
              <a:srgbClr val="66BAFF">
                <a:alpha val="80000"/>
              </a:srgbClr>
            </a:gs>
            <a:gs pos="0">
              <a:srgbClr val="007AFF">
                <a:alpha val="80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2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3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0" y="143258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38526" y="806600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17793" y="838200"/>
            <a:ext cx="8735683" cy="6040867"/>
          </a:xfrm>
          <a:prstGeom prst="rect">
            <a:avLst/>
          </a:prstGeom>
        </p:spPr>
      </p:pic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xmlns="" id="{98A1CF8B-A32E-4032-847A-0187F2FC86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</p:spPr>
        <p:txBody>
          <a:bodyPr/>
          <a:lstStyle>
            <a:lvl1pPr>
              <a:defRPr sz="1400" b="1">
                <a:solidFill>
                  <a:srgbClr val="262626"/>
                </a:solidFill>
                <a:effectLst/>
              </a:defRPr>
            </a:lvl1pPr>
          </a:lstStyle>
          <a:p>
            <a:fld id="{2AEBC476-9252-C343-9FCE-489A77E2EA6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7407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56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FD4E993C-AAE6-4DAE-BC68-1D26D25B3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xmlns="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943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=""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/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=""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=""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277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224811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E38BDAC-3B43-4DC5-A7A6-2D8289D222D8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7" name="Рисунок 12">
            <a:extLst>
              <a:ext uri="{FF2B5EF4-FFF2-40B4-BE49-F238E27FC236}">
                <a16:creationId xmlns:a16="http://schemas.microsoft.com/office/drawing/2014/main" xmlns="" id="{503914FA-7A76-4387-BB11-93FA4D532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xmlns="" id="{81FC088D-D1AA-4942-A5CE-35DA68ADA5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A141DAEB-720D-48D1-A0EB-FBCF3243BD5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0" name="Graphic 8">
            <a:extLst>
              <a:ext uri="{FF2B5EF4-FFF2-40B4-BE49-F238E27FC236}">
                <a16:creationId xmlns:a16="http://schemas.microsoft.com/office/drawing/2014/main" xmlns="" id="{0C8F999A-8D15-4F64-BDE2-FC3CF7954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998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5670">
              <a:defRPr/>
            </a:pPr>
            <a:endParaRPr lang="ru-RU" sz="933">
              <a:solidFill>
                <a:srgbClr val="FFFFFF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9" name="Рисунок 9">
            <a:extLst>
              <a:ext uri="{FF2B5EF4-FFF2-40B4-BE49-F238E27FC236}">
                <a16:creationId xmlns:a16="http://schemas.microsoft.com/office/drawing/2014/main" xmlns="" id="{FD4E993C-AAE6-4DAE-BC68-1D26D25B34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91" y="202346"/>
            <a:ext cx="2498383" cy="91435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xmlns="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6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gradFill>
          <a:gsLst>
            <a:gs pos="100000">
              <a:srgbClr val="66BAFF"/>
            </a:gs>
            <a:gs pos="0">
              <a:srgbClr val="007AFF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0">
            <a:extLst>
              <a:ext uri="{FF2B5EF4-FFF2-40B4-BE49-F238E27FC236}">
                <a16:creationId xmlns:a16="http://schemas.microsoft.com/office/drawing/2014/main" xmlns="" id="{5D6948E1-4C02-4B5B-9100-1BA4B150A4CC}"/>
              </a:ext>
            </a:extLst>
          </p:cNvPr>
          <p:cNvSpPr/>
          <p:nvPr userDrawn="1"/>
        </p:nvSpPr>
        <p:spPr>
          <a:xfrm>
            <a:off x="0" y="1949757"/>
            <a:ext cx="12192000" cy="3079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5670">
              <a:defRPr/>
            </a:pPr>
            <a:endParaRPr lang="ru-RU" sz="933">
              <a:solidFill>
                <a:srgbClr val="FFFFFF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4FFE443-A806-4B0E-B29B-2FB0A67F4C84}"/>
              </a:ext>
            </a:extLst>
          </p:cNvPr>
          <p:cNvSpPr/>
          <p:nvPr userDrawn="1"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8" name="Рисунок 12">
            <a:extLst>
              <a:ext uri="{FF2B5EF4-FFF2-40B4-BE49-F238E27FC236}">
                <a16:creationId xmlns:a16="http://schemas.microsoft.com/office/drawing/2014/main" xmlns="" id="{16EEB178-8A08-4BF4-91DA-5B98646AA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635918" y="0"/>
            <a:ext cx="11556082" cy="6858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E230ABB-6F58-4234-9FBD-8AB4140494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1" name="Graphic 8">
            <a:extLst>
              <a:ext uri="{FF2B5EF4-FFF2-40B4-BE49-F238E27FC236}">
                <a16:creationId xmlns:a16="http://schemas.microsoft.com/office/drawing/2014/main" xmlns="" id="{DF718007-AE6D-4DA1-AD07-FC02DD9B36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32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екст">
    <p:bg>
      <p:bgPr>
        <a:gradFill>
          <a:gsLst>
            <a:gs pos="100000">
              <a:schemeClr val="tx1"/>
            </a:gs>
            <a:gs pos="0">
              <a:schemeClr val="tx1"/>
            </a:gs>
            <a:gs pos="50000">
              <a:schemeClr val="accent1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DBC43AC4-2EB5-457E-B5AD-27B79D3EA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</a:rPr>
              <a:pPr/>
              <a:t>‹#›</a:t>
            </a:fld>
            <a:endParaRPr lang="ru-RU" dirty="0"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16967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785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">
    <p:bg>
      <p:bgPr>
        <a:gradFill flip="none" rotWithShape="1">
          <a:gsLst>
            <a:gs pos="20000">
              <a:schemeClr val="accent1">
                <a:lumMod val="60000"/>
                <a:lumOff val="40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xmlns="" id="{C8B3E92D-5807-47A2-8A40-D247F86C42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>
            <a:off x="3456321" y="806601"/>
            <a:ext cx="8735681" cy="604086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5E2DB68-294E-4D41-A786-2963C019F15C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rgbClr val="FFFFFF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26345194-BD72-4106-8639-F2E07A52DC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8375" y="200443"/>
            <a:ext cx="429076" cy="432807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CA01ADA-7A8D-4417-84F0-40158758DE12}"/>
              </a:ext>
            </a:extLst>
          </p:cNvPr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FC12D4E8-A854-70E7-6943-48D66D2208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14" name="Рисунок 12">
            <a:extLst>
              <a:ext uri="{FF2B5EF4-FFF2-40B4-BE49-F238E27FC236}">
                <a16:creationId xmlns:a16="http://schemas.microsoft.com/office/drawing/2014/main" xmlns="" id="{BB7AF5DC-3786-4D67-A20D-5694F04E105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17001" b="1"/>
          <a:stretch/>
        </p:blipFill>
        <p:spPr>
          <a:xfrm flipH="1">
            <a:off x="-2" y="838201"/>
            <a:ext cx="8735683" cy="6040867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487F540E-7226-4198-900C-EAE132E03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</a:rPr>
              <a:pPr/>
              <a:t>‹#›</a:t>
            </a:fld>
            <a:endParaRPr lang="ru-RU" dirty="0"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05692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B46DE59E-E569-4F2B-A446-DDECD0B3FE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13000" contrast="15000"/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89269"/>
            <a:ext cx="12192001" cy="7687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04C4F42-3DD4-50FF-2B51-33B21ED455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2"/>
            <a:ext cx="2743200" cy="365125"/>
          </a:xfrm>
          <a:effectLst/>
        </p:spPr>
        <p:txBody>
          <a:bodyPr/>
          <a:lstStyle>
            <a:lvl1pPr>
              <a:defRPr sz="1400" b="1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fld id="{2AEBC476-9252-C343-9FCE-489A77E2EA66}" type="slidenum">
              <a:rPr lang="ru-RU" smtClean="0"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</a:rPr>
              <a:pPr/>
              <a:t>‹#›</a:t>
            </a:fld>
            <a:endParaRPr lang="ru-RU" dirty="0"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rgbClr val="FFFFFF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xmlns="" id="{163839C3-CA6F-5CAF-EE73-3A29718315D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CF934174-04ED-DD40-6C12-A9ABA3B0E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46" b="88978"/>
          <a:stretch/>
        </p:blipFill>
        <p:spPr>
          <a:xfrm>
            <a:off x="1" y="6219828"/>
            <a:ext cx="7011051" cy="655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27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xmlns="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48800" y="6492870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>
                <a:solidFill>
                  <a:srgbClr val="008CFF"/>
                </a:solidFill>
              </a:rPr>
              <a:pPr/>
              <a:t>‹#›</a:t>
            </a:fld>
            <a:endParaRPr lang="ru-RU" dirty="0">
              <a:solidFill>
                <a:srgbClr val="008C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E651BF2-C6BE-42E0-B646-8F3DC2D7D273}"/>
              </a:ext>
            </a:extLst>
          </p:cNvPr>
          <p:cNvSpPr/>
          <p:nvPr/>
        </p:nvSpPr>
        <p:spPr>
          <a:xfrm>
            <a:off x="0" y="3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>
              <a:solidFill>
                <a:srgbClr val="FFFFFF"/>
              </a:solidFill>
            </a:endParaRP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xmlns="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xmlns="" id="{704112E4-8505-2208-C591-DDA414A668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8390"/>
          <a:stretch/>
        </p:blipFill>
        <p:spPr>
          <a:xfrm>
            <a:off x="175391" y="143259"/>
            <a:ext cx="611247" cy="5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9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екст">
    <p:spTree>
      <p:nvGrpSpPr>
        <p:cNvPr id="1" name="Group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" name="Shape 135"/>
          <p:cNvPicPr/>
          <p:nvPr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15689"/>
          <a:stretch/>
        </p:blipFill>
        <p:spPr>
          <a:xfrm>
            <a:off x="-1" y="6019798"/>
            <a:ext cx="12192001" cy="838198"/>
          </a:xfrm>
          <a:prstGeom prst="rect">
            <a:avLst/>
          </a:prstGeom>
        </p:spPr>
      </p:pic>
      <p:sp>
        <p:nvSpPr>
          <p:cNvPr id="136" name="Shape 136"/>
          <p:cNvSpPr txBox="1">
            <a:spLocks noGrp="1"/>
          </p:cNvSpPr>
          <p:nvPr>
            <p:ph type="sldNum" idx="12"/>
          </p:nvPr>
        </p:nvSpPr>
        <p:spPr>
          <a:xfrm>
            <a:off x="9448800" y="6492872"/>
            <a:ext cx="2743200" cy="365125"/>
          </a:xfrm>
          <a:prstGeom prst="rect">
            <a:avLst/>
          </a:prstGeom>
        </p:spPr>
        <p:txBody>
          <a:bodyPr/>
          <a:lstStyle>
            <a:defPPr/>
            <a:lvl1pPr lvl="0">
              <a:defRPr sz="1400" b="1">
                <a:solidFill>
                  <a:schemeClr val="bg2"/>
                </a:solidFill>
              </a:defRPr>
            </a:lvl1pPr>
          </a:lstStyle>
          <a:p>
            <a:r>
              <a:rPr>
                <a:solidFill>
                  <a:srgbClr val="FFFFFF"/>
                </a:solidFill>
              </a:rPr>
              <a:t>‹#›</a:t>
            </a:r>
          </a:p>
        </p:txBody>
      </p:sp>
      <p:sp>
        <p:nvSpPr>
          <p:cNvPr id="137" name="Shape 137"/>
          <p:cNvSpPr/>
          <p:nvPr/>
        </p:nvSpPr>
        <p:spPr>
          <a:xfrm>
            <a:off x="0" y="2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91440" tIns="45720" rIns="91440" bIns="45720" anchor="ctr"/>
          <a:lstStyle/>
          <a:p>
            <a:pPr algn="ctr"/>
            <a:endParaRPr sz="700">
              <a:solidFill>
                <a:srgbClr val="FFFFFF"/>
              </a:solidFill>
            </a:endParaRPr>
          </a:p>
        </p:txBody>
      </p:sp>
      <p:sp>
        <p:nvSpPr>
          <p:cNvPr id="138" name="Shape 138"/>
          <p:cNvSpPr txBox="1">
            <a:spLocks noGrp="1"/>
          </p:cNvSpPr>
          <p:nvPr>
            <p:ph type="title" idx="2"/>
          </p:nvPr>
        </p:nvSpPr>
        <p:spPr>
          <a:xfrm>
            <a:off x="962025" y="3"/>
            <a:ext cx="10534651" cy="838199"/>
          </a:xfrm>
          <a:prstGeom prst="rect">
            <a:avLst/>
          </a:prstGeom>
        </p:spPr>
        <p:txBody>
          <a:bodyPr anchor="ctr">
            <a:normAutofit/>
          </a:bodyPr>
          <a:lstStyle>
            <a:defPPr/>
            <a:lvl1pPr lvl="0">
              <a:defRPr sz="2400" b="1">
                <a:solidFill>
                  <a:schemeClr val="tx2"/>
                </a:solidFill>
              </a:defRPr>
            </a:lvl1pPr>
          </a:lstStyle>
          <a:p>
            <a:r>
              <a:t>Click to edit Master title style</a:t>
            </a:r>
          </a:p>
        </p:txBody>
      </p:sp>
      <p:pic>
        <p:nvPicPr>
          <p:cNvPr id="140" name="Shape 140"/>
          <p:cNvPicPr/>
          <p:nvPr/>
        </p:nvPicPr>
        <p:blipFill>
          <a:blip r:embed="rId4" cstate="print"/>
          <a:srcRect b="18390"/>
          <a:stretch/>
        </p:blipFill>
        <p:spPr>
          <a:xfrm>
            <a:off x="175390" y="143258"/>
            <a:ext cx="611247" cy="551686"/>
          </a:xfrm>
          <a:prstGeom prst="rect">
            <a:avLst/>
          </a:prstGeom>
        </p:spPr>
      </p:pic>
      <p:pic>
        <p:nvPicPr>
          <p:cNvPr id="142" name="Shape 142"/>
          <p:cNvPicPr/>
          <p:nvPr/>
        </p:nvPicPr>
        <p:blipFill>
          <a:blip r:embed="rId5" cstate="print"/>
          <a:srcRect l="32346" b="88978"/>
          <a:stretch/>
        </p:blipFill>
        <p:spPr>
          <a:xfrm>
            <a:off x="-1" y="6219827"/>
            <a:ext cx="7011051" cy="655179"/>
          </a:xfrm>
          <a:prstGeom prst="rect">
            <a:avLst/>
          </a:prstGeom>
        </p:spPr>
      </p:pic>
      <p:pic>
        <p:nvPicPr>
          <p:cNvPr id="144" name="Shape 144"/>
          <p:cNvPicPr/>
          <p:nvPr/>
        </p:nvPicPr>
        <p:blipFill>
          <a:blip r:embed="rId5" cstate="print"/>
          <a:srcRect r="24893" b="82953"/>
          <a:stretch/>
        </p:blipFill>
        <p:spPr>
          <a:xfrm>
            <a:off x="4408528" y="5844688"/>
            <a:ext cx="7783472" cy="1013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424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4430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846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92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4105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8274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0200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6780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1.bin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BCDCF2-25F8-4A1E-9A13-EB7D92E3FC70}" type="datetimeFigureOut">
              <a:rPr lang="ru-RU" smtClean="0"/>
              <a:t>27.03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0F4FB8-E04F-4242-BD38-A011B1AE97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8898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3" r:id="rId13"/>
    <p:sldLayoutId id="2147483664" r:id="rId14"/>
    <p:sldLayoutId id="214748366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0C3A8DB-8D2E-4F36-89EA-DE508D238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13A8A89-8EE1-4F25-BE9D-C81F741D21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A6289DB-0BAB-4325-829F-1D846B3E9A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2AEBC476-9252-C343-9FCE-489A77E2EA66}" type="slidenum">
              <a:rPr lang="ru-RU" smtClean="0">
                <a:solidFill>
                  <a:srgbClr val="008CFF"/>
                </a:solidFill>
              </a:rPr>
              <a:pPr/>
              <a:t>‹#›</a:t>
            </a:fld>
            <a:endParaRPr lang="ru-RU" dirty="0">
              <a:solidFill>
                <a:srgbClr val="008CFF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28CDE0F-CEF4-4D20-8F93-1EFA50CDBB76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89DE8448-79F6-4E64-8908-A1978A95A67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3CCF2D9C-37A4-49FE-A982-490E5B54EA15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C15CC6A5-3E80-402A-AAB1-001E02757063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" y="1"/>
            <a:ext cx="195384" cy="158751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959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72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7" Type="http://schemas.openxmlformats.org/officeDocument/2006/relationships/image" Target="../media/image253.svg"/></Relationships>
</file>

<file path=ppt/slides/_rels/slide2.xml.rels><?xml version="1.0" encoding="UTF-8" standalone="yes"?>
<Relationships xmlns="http://schemas.openxmlformats.org/package/2006/relationships"><Relationship Id="rId121" Type="http://schemas.openxmlformats.org/officeDocument/2006/relationships/image" Target="NULL"/><Relationship Id="rId3" Type="http://schemas.openxmlformats.org/officeDocument/2006/relationships/image" Target="../media/image15.png"/><Relationship Id="rId63" Type="http://schemas.openxmlformats.org/officeDocument/2006/relationships/image" Target="NULL"/><Relationship Id="rId67" Type="http://schemas.openxmlformats.org/officeDocument/2006/relationships/image" Target="../media/image18.png"/><Relationship Id="rId124" Type="http://schemas.openxmlformats.org/officeDocument/2006/relationships/image" Target="../media/image20.png"/><Relationship Id="rId103" Type="http://schemas.openxmlformats.org/officeDocument/2006/relationships/image" Target="NULL"/><Relationship Id="rId2" Type="http://schemas.openxmlformats.org/officeDocument/2006/relationships/notesSlide" Target="../notesSlides/notesSlide2.xml"/><Relationship Id="rId41" Type="http://schemas.openxmlformats.org/officeDocument/2006/relationships/image" Target="NULL"/><Relationship Id="rId1" Type="http://schemas.openxmlformats.org/officeDocument/2006/relationships/slideLayout" Target="../slideLayouts/slideLayout14.xml"/><Relationship Id="rId66" Type="http://schemas.openxmlformats.org/officeDocument/2006/relationships/image" Target="../media/image17.png"/><Relationship Id="rId123" Type="http://schemas.microsoft.com/office/2007/relationships/hdphoto" Target="../media/hdphoto3.wdp"/><Relationship Id="rId79" Type="http://schemas.openxmlformats.org/officeDocument/2006/relationships/image" Target="NULL"/><Relationship Id="rId23" Type="http://schemas.openxmlformats.org/officeDocument/2006/relationships/image" Target="NULL"/><Relationship Id="rId65" Type="http://schemas.microsoft.com/office/2007/relationships/hdphoto" Target="../media/hdphoto2.wdp"/><Relationship Id="rId122" Type="http://schemas.openxmlformats.org/officeDocument/2006/relationships/image" Target="../media/image19.png"/><Relationship Id="rId4" Type="http://schemas.microsoft.com/office/2007/relationships/hdphoto" Target="../media/hdphoto1.wdp"/><Relationship Id="rId6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21" Type="http://schemas.openxmlformats.org/officeDocument/2006/relationships/image" Target="../media/image1530.svg"/><Relationship Id="rId117" Type="http://schemas.openxmlformats.org/officeDocument/2006/relationships/image" Target="../media/image149.svg"/><Relationship Id="rId3" Type="http://schemas.openxmlformats.org/officeDocument/2006/relationships/image" Target="../media/image21.png"/><Relationship Id="rId92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91" Type="http://schemas.openxmlformats.org/officeDocument/2006/relationships/image" Target="../media/image123.svg"/><Relationship Id="rId1" Type="http://schemas.openxmlformats.org/officeDocument/2006/relationships/slideLayout" Target="../slideLayouts/slideLayout14.xml"/><Relationship Id="rId58" Type="http://schemas.openxmlformats.org/officeDocument/2006/relationships/image" Target="../media/image22.png"/><Relationship Id="rId87" Type="http://schemas.openxmlformats.org/officeDocument/2006/relationships/image" Target="../media/image119.svg"/><Relationship Id="rId123" Type="http://schemas.openxmlformats.org/officeDocument/2006/relationships/image" Target="../media/image25.png"/><Relationship Id="rId57" Type="http://schemas.openxmlformats.org/officeDocument/2006/relationships/image" Target="../media/image89.svg"/><Relationship Id="rId122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26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svg"/><Relationship Id="rId10" Type="http://schemas.openxmlformats.org/officeDocument/2006/relationships/image" Target="../media/image29.png"/><Relationship Id="rId9" Type="http://schemas.openxmlformats.org/officeDocument/2006/relationships/image" Target="../media/image28.png"/><Relationship Id="rId4" Type="http://schemas.openxmlformats.org/officeDocument/2006/relationships/image" Target="../media/image4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15" Type="http://schemas.openxmlformats.org/officeDocument/2006/relationships/image" Target="NULL"/><Relationship Id="rId4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7" Type="http://schemas.openxmlformats.org/officeDocument/2006/relationships/image" Target="../media/image35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4.png"/><Relationship Id="rId5" Type="http://schemas.openxmlformats.org/officeDocument/2006/relationships/image" Target="NULL"/><Relationship Id="rId105" Type="http://schemas.openxmlformats.org/officeDocument/2006/relationships/image" Target="../media/image40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91585E4-9E37-4E33-B120-8950B1C1AC7B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79175" y="5317066"/>
            <a:ext cx="6369114" cy="55492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b="1" dirty="0" smtClean="0">
                <a:solidFill>
                  <a:schemeClr val="bg1"/>
                </a:solidFill>
              </a:rPr>
              <a:t>Скрябина Ольга Николаевна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B436E1-75B9-494C-A8E2-2C1DA0749C8E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-147917" y="3536576"/>
            <a:ext cx="7394320" cy="2219720"/>
          </a:xfrm>
        </p:spPr>
        <p:txBody>
          <a:bodyPr>
            <a:noAutofit/>
          </a:bodyPr>
          <a:lstStyle/>
          <a:p>
            <a:pPr lvl="0" algn="ctr" defTabSz="465659">
              <a:lnSpc>
                <a:spcPct val="100000"/>
              </a:lnSpc>
              <a:spcBef>
                <a:spcPts val="0"/>
              </a:spcBef>
            </a:pPr>
            <a:r>
              <a:rPr lang="ru-RU" sz="2400" b="1" dirty="0" smtClean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ru-RU" sz="2400" b="1" dirty="0" smtClean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ru-RU" sz="2400" b="1" dirty="0">
                <a:ln w="6600">
                  <a:noFill/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 Arial"/>
                <a:cs typeface="Arial" panose="020B0604020202020204" pitchFamily="34" charset="0"/>
              </a:rPr>
              <a:t>И</a:t>
            </a:r>
            <a:r>
              <a:rPr lang="ru-RU" sz="2400" b="1" dirty="0" smtClean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 Arial"/>
                <a:ea typeface="+mn-ea"/>
                <a:cs typeface="Arial" panose="020B0604020202020204" pitchFamily="34" charset="0"/>
              </a:rPr>
              <a:t>сполнение </a:t>
            </a:r>
            <a:r>
              <a:rPr lang="ru-RU" sz="2400" b="1" dirty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 Arial"/>
                <a:ea typeface="+mn-ea"/>
                <a:cs typeface="Arial" panose="020B0604020202020204" pitchFamily="34" charset="0"/>
              </a:rPr>
              <a:t>мероприятий, </a:t>
            </a:r>
            <a:r>
              <a:rPr lang="ru-RU" sz="2400" b="1" dirty="0" smtClean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 Arial"/>
                <a:ea typeface="+mn-ea"/>
                <a:cs typeface="Arial" panose="020B0604020202020204" pitchFamily="34" charset="0"/>
              </a:rPr>
              <a:t>предусмотренных Федеральным </a:t>
            </a:r>
            <a:r>
              <a:rPr lang="ru-RU" sz="2400" b="1" dirty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  <a:t>законом </a:t>
            </a:r>
            <a:r>
              <a:rPr lang="ru-RU" sz="2400" b="1" dirty="0" smtClean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  <a:t/>
            </a:r>
            <a:br>
              <a:rPr lang="ru-RU" sz="2400" b="1" dirty="0" smtClean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lang="ru-RU" sz="2400" b="1" dirty="0" smtClean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  <a:t>№ </a:t>
            </a:r>
            <a:r>
              <a:rPr lang="ru-RU" sz="2400" b="1" dirty="0">
                <a:ln w="12700">
                  <a:solidFill>
                    <a:srgbClr val="008CFF"/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  <a:t>518-ФЗ от 30.12.2020</a:t>
            </a:r>
            <a:r>
              <a:rPr lang="ru-RU" sz="2400" b="1" dirty="0">
                <a:ln w="12700">
                  <a:solidFill>
                    <a:srgbClr val="008CFF"/>
                  </a:solidFill>
                  <a:prstDash val="solid"/>
                </a:ln>
                <a:solidFill>
                  <a:srgbClr val="008CFF">
                    <a:lumMod val="75000"/>
                  </a:srgbClr>
                </a:solidFill>
                <a:effectLst>
                  <a:outerShdw dist="38100" dir="2640000" algn="bl" rotWithShape="0">
                    <a:srgbClr val="008CFF"/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  <a:t/>
            </a:r>
            <a:br>
              <a:rPr lang="ru-RU" sz="2400" b="1" dirty="0">
                <a:ln w="12700">
                  <a:solidFill>
                    <a:srgbClr val="008CFF"/>
                  </a:solidFill>
                  <a:prstDash val="solid"/>
                </a:ln>
                <a:solidFill>
                  <a:srgbClr val="008CFF">
                    <a:lumMod val="75000"/>
                  </a:srgbClr>
                </a:solidFill>
                <a:effectLst>
                  <a:outerShdw dist="38100" dir="2640000" algn="bl" rotWithShape="0">
                    <a:srgbClr val="008CFF"/>
                  </a:outerShdw>
                </a:effectLst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lang="ru-RU" sz="2400" b="1" dirty="0" smtClean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ru-RU" sz="2400" b="1" dirty="0" smtClean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ru-RU" sz="2400" b="1" dirty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  <a:t/>
            </a:r>
            <a:br>
              <a:rPr lang="ru-RU" sz="2400" b="1" dirty="0">
                <a:ln w="6600">
                  <a:noFill/>
                  <a:prstDash val="solid"/>
                </a:ln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ru-RU" sz="2400" b="1" dirty="0">
              <a:solidFill>
                <a:schemeClr val="tx1"/>
              </a:solidFill>
            </a:endParaRPr>
          </a:p>
        </p:txBody>
      </p:sp>
      <p:pic>
        <p:nvPicPr>
          <p:cNvPr id="6" name="Graphic 335">
            <a:extLst>
              <a:ext uri="{FF2B5EF4-FFF2-40B4-BE49-F238E27FC236}">
                <a16:creationId xmlns:lc="http://schemas.openxmlformats.org/drawingml/2006/lockedCanvas" xmlns:a16="http://schemas.microsoft.com/office/drawing/2014/main" xmlns="" id="{F0412A8D-1ED3-48C8-9E74-5F4529DDC2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lc="http://schemas.openxmlformats.org/drawingml/2006/lockedCanvas" xmlns:asvg="http://schemas.microsoft.com/office/drawing/2016/SVG/main" xmlns="" r:embed="rId57"/>
              </a:ext>
            </a:extLst>
          </a:blip>
          <a:stretch>
            <a:fillRect/>
          </a:stretch>
        </p:blipFill>
        <p:spPr>
          <a:xfrm>
            <a:off x="8256056" y="2141551"/>
            <a:ext cx="2201875" cy="23104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7847CB19-B63D-FFA2-DFA0-2051FBDAF075}"/>
              </a:ext>
            </a:extLst>
          </p:cNvPr>
          <p:cNvSpPr/>
          <p:nvPr/>
        </p:nvSpPr>
        <p:spPr>
          <a:xfrm>
            <a:off x="416859" y="2141551"/>
            <a:ext cx="6239435" cy="1529496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 lvl="0" algn="ctr" defTabSz="465659"/>
            <a:r>
              <a:rPr lang="ru-RU" sz="2400" b="1" dirty="0">
                <a:ln w="6600">
                  <a:solidFill>
                    <a:srgbClr val="00CC99"/>
                  </a:solidFill>
                  <a:prstDash val="solid"/>
                </a:ln>
                <a:solidFill>
                  <a:srgbClr val="008CFF">
                    <a:lumMod val="75000"/>
                  </a:srgbClr>
                </a:solidFill>
                <a:effectLst>
                  <a:outerShdw dist="38100" dir="2700000" algn="tl" rotWithShape="0">
                    <a:srgbClr val="00CC99"/>
                  </a:outerShdw>
                </a:effectLst>
                <a:latin typeface="Arial" panose="020B0604020202020204"/>
                <a:cs typeface="Arial" panose="020B0604020202020204" pitchFamily="34" charset="0"/>
              </a:rPr>
              <a:t>Управление Федеральной службы государственной регистрации, кадастра и картографии </a:t>
            </a:r>
          </a:p>
          <a:p>
            <a:pPr lvl="0" algn="ctr" defTabSz="271463"/>
            <a:r>
              <a:rPr lang="ru-RU" sz="2400" b="1" dirty="0">
                <a:ln w="6600">
                  <a:solidFill>
                    <a:srgbClr val="00CC99"/>
                  </a:solidFill>
                  <a:prstDash val="solid"/>
                </a:ln>
                <a:solidFill>
                  <a:srgbClr val="008CFF">
                    <a:lumMod val="75000"/>
                  </a:srgbClr>
                </a:solidFill>
                <a:effectLst>
                  <a:outerShdw dist="38100" dir="2700000" algn="tl" rotWithShape="0">
                    <a:srgbClr val="00CC99"/>
                  </a:outerShdw>
                </a:effectLst>
                <a:latin typeface="Arial" panose="020B0604020202020204"/>
                <a:cs typeface="Arial" panose="020B0604020202020204" pitchFamily="34" charset="0"/>
              </a:rPr>
              <a:t>по Московской области</a:t>
            </a:r>
            <a:endParaRPr lang="ru-RU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A91585E4-9E37-4E33-B120-8950B1C1AC7B}"/>
              </a:ext>
            </a:extLst>
          </p:cNvPr>
          <p:cNvSpPr txBox="1">
            <a:spLocks/>
          </p:cNvSpPr>
          <p:nvPr/>
        </p:nvSpPr>
        <p:spPr>
          <a:xfrm>
            <a:off x="179175" y="5756296"/>
            <a:ext cx="6369114" cy="5549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2000" dirty="0" smtClean="0">
                <a:solidFill>
                  <a:schemeClr val="bg1"/>
                </a:solidFill>
              </a:rPr>
              <a:t>март 2024</a:t>
            </a:r>
            <a:endParaRPr lang="ru-R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3142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1229975" cy="838199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bg2">
                    <a:lumMod val="25000"/>
                  </a:schemeClr>
                </a:solidFill>
              </a:rPr>
              <a:t>Основные этапы мероприятий по выявлению правообладателей ранее учтенных объектов</a:t>
            </a:r>
            <a:endParaRPr lang="ru-RU" sz="24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0" name="Slide Number Placeholder 6">
            <a:extLst>
              <a:ext uri="{FF2B5EF4-FFF2-40B4-BE49-F238E27FC236}">
                <a16:creationId xmlns=""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</a:rPr>
              <a:pPr>
                <a:defRPr/>
              </a:pPr>
              <a:t>2</a:t>
            </a:fld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Arial"/>
            </a:endParaRPr>
          </a:p>
        </p:txBody>
      </p:sp>
      <p:grpSp>
        <p:nvGrpSpPr>
          <p:cNvPr id="21" name="object 6"/>
          <p:cNvGrpSpPr/>
          <p:nvPr/>
        </p:nvGrpSpPr>
        <p:grpSpPr>
          <a:xfrm>
            <a:off x="2427393" y="1596167"/>
            <a:ext cx="5321300" cy="3393440"/>
            <a:chOff x="2002495" y="2747219"/>
            <a:chExt cx="5321300" cy="3393440"/>
          </a:xfrm>
        </p:grpSpPr>
        <p:sp>
          <p:nvSpPr>
            <p:cNvPr id="22" name="object 7"/>
            <p:cNvSpPr/>
            <p:nvPr/>
          </p:nvSpPr>
          <p:spPr>
            <a:xfrm>
              <a:off x="2015195" y="2759919"/>
              <a:ext cx="5295900" cy="1403350"/>
            </a:xfrm>
            <a:custGeom>
              <a:avLst/>
              <a:gdLst/>
              <a:ahLst/>
              <a:cxnLst/>
              <a:rect l="l" t="t" r="r" b="b"/>
              <a:pathLst>
                <a:path w="5295900" h="1403350">
                  <a:moveTo>
                    <a:pt x="4956098" y="0"/>
                  </a:moveTo>
                  <a:lnTo>
                    <a:pt x="5125948" y="0"/>
                  </a:lnTo>
                  <a:lnTo>
                    <a:pt x="5164891" y="5704"/>
                  </a:lnTo>
                  <a:lnTo>
                    <a:pt x="5200640" y="21955"/>
                  </a:lnTo>
                  <a:lnTo>
                    <a:pt x="5232174" y="47454"/>
                  </a:lnTo>
                  <a:lnTo>
                    <a:pt x="5258475" y="80904"/>
                  </a:lnTo>
                  <a:lnTo>
                    <a:pt x="5278523" y="121011"/>
                  </a:lnTo>
                  <a:lnTo>
                    <a:pt x="5291300" y="166475"/>
                  </a:lnTo>
                  <a:lnTo>
                    <a:pt x="5295785" y="216001"/>
                  </a:lnTo>
                  <a:lnTo>
                    <a:pt x="5295785" y="724877"/>
                  </a:lnTo>
                  <a:lnTo>
                    <a:pt x="5290080" y="774404"/>
                  </a:lnTo>
                  <a:lnTo>
                    <a:pt x="5273830" y="819868"/>
                  </a:lnTo>
                  <a:lnTo>
                    <a:pt x="5248331" y="859974"/>
                  </a:lnTo>
                  <a:lnTo>
                    <a:pt x="5214880" y="893425"/>
                  </a:lnTo>
                  <a:lnTo>
                    <a:pt x="5174774" y="918924"/>
                  </a:lnTo>
                  <a:lnTo>
                    <a:pt x="5129310" y="935174"/>
                  </a:lnTo>
                  <a:lnTo>
                    <a:pt x="5079784" y="940879"/>
                  </a:lnTo>
                  <a:lnTo>
                    <a:pt x="215900" y="940879"/>
                  </a:lnTo>
                  <a:lnTo>
                    <a:pt x="166399" y="946581"/>
                  </a:lnTo>
                  <a:lnTo>
                    <a:pt x="120957" y="962823"/>
                  </a:lnTo>
                  <a:lnTo>
                    <a:pt x="80870" y="988309"/>
                  </a:lnTo>
                  <a:lnTo>
                    <a:pt x="47434" y="1021744"/>
                  </a:lnTo>
                  <a:lnTo>
                    <a:pt x="21946" y="1061831"/>
                  </a:lnTo>
                  <a:lnTo>
                    <a:pt x="5702" y="1107274"/>
                  </a:lnTo>
                  <a:lnTo>
                    <a:pt x="0" y="1156779"/>
                  </a:lnTo>
                  <a:lnTo>
                    <a:pt x="0" y="1403248"/>
                  </a:lnTo>
                </a:path>
              </a:pathLst>
            </a:custGeom>
            <a:ln w="25399">
              <a:solidFill>
                <a:srgbClr val="BFE2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8"/>
            <p:cNvSpPr/>
            <p:nvPr/>
          </p:nvSpPr>
          <p:spPr>
            <a:xfrm>
              <a:off x="2015195" y="4724435"/>
              <a:ext cx="5295900" cy="1403350"/>
            </a:xfrm>
            <a:custGeom>
              <a:avLst/>
              <a:gdLst/>
              <a:ahLst/>
              <a:cxnLst/>
              <a:rect l="l" t="t" r="r" b="b"/>
              <a:pathLst>
                <a:path w="5295900" h="1403350">
                  <a:moveTo>
                    <a:pt x="4956098" y="0"/>
                  </a:moveTo>
                  <a:lnTo>
                    <a:pt x="5125948" y="0"/>
                  </a:lnTo>
                  <a:lnTo>
                    <a:pt x="5164891" y="5704"/>
                  </a:lnTo>
                  <a:lnTo>
                    <a:pt x="5200640" y="21955"/>
                  </a:lnTo>
                  <a:lnTo>
                    <a:pt x="5232174" y="47454"/>
                  </a:lnTo>
                  <a:lnTo>
                    <a:pt x="5258475" y="80904"/>
                  </a:lnTo>
                  <a:lnTo>
                    <a:pt x="5278523" y="121011"/>
                  </a:lnTo>
                  <a:lnTo>
                    <a:pt x="5291300" y="166475"/>
                  </a:lnTo>
                  <a:lnTo>
                    <a:pt x="5295785" y="216001"/>
                  </a:lnTo>
                  <a:lnTo>
                    <a:pt x="5295785" y="724877"/>
                  </a:lnTo>
                  <a:lnTo>
                    <a:pt x="5290080" y="774404"/>
                  </a:lnTo>
                  <a:lnTo>
                    <a:pt x="5273830" y="819868"/>
                  </a:lnTo>
                  <a:lnTo>
                    <a:pt x="5248331" y="859974"/>
                  </a:lnTo>
                  <a:lnTo>
                    <a:pt x="5214880" y="893425"/>
                  </a:lnTo>
                  <a:lnTo>
                    <a:pt x="5174774" y="918924"/>
                  </a:lnTo>
                  <a:lnTo>
                    <a:pt x="5129310" y="935174"/>
                  </a:lnTo>
                  <a:lnTo>
                    <a:pt x="5079784" y="940879"/>
                  </a:lnTo>
                  <a:lnTo>
                    <a:pt x="215900" y="940879"/>
                  </a:lnTo>
                  <a:lnTo>
                    <a:pt x="166399" y="946581"/>
                  </a:lnTo>
                  <a:lnTo>
                    <a:pt x="120957" y="962823"/>
                  </a:lnTo>
                  <a:lnTo>
                    <a:pt x="80870" y="988309"/>
                  </a:lnTo>
                  <a:lnTo>
                    <a:pt x="47434" y="1021744"/>
                  </a:lnTo>
                  <a:lnTo>
                    <a:pt x="21946" y="1061831"/>
                  </a:lnTo>
                  <a:lnTo>
                    <a:pt x="5702" y="1107274"/>
                  </a:lnTo>
                  <a:lnTo>
                    <a:pt x="0" y="1156779"/>
                  </a:lnTo>
                  <a:lnTo>
                    <a:pt x="0" y="1403248"/>
                  </a:lnTo>
                </a:path>
              </a:pathLst>
            </a:custGeom>
            <a:ln w="25399">
              <a:solidFill>
                <a:srgbClr val="BFE2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10"/>
          <p:cNvSpPr txBox="1"/>
          <p:nvPr/>
        </p:nvSpPr>
        <p:spPr>
          <a:xfrm>
            <a:off x="3984704" y="1450485"/>
            <a:ext cx="2959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282575" algn="l"/>
              </a:tabLst>
            </a:pPr>
            <a:r>
              <a:rPr sz="1200" u="heavy" dirty="0">
                <a:uFill>
                  <a:solidFill>
                    <a:srgbClr val="BFE2FF"/>
                  </a:solidFill>
                </a:uFill>
                <a:latin typeface="Times New Roman"/>
                <a:cs typeface="Times New Roman"/>
              </a:rPr>
              <a:t> 	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25" name="object 11"/>
          <p:cNvSpPr txBox="1"/>
          <p:nvPr/>
        </p:nvSpPr>
        <p:spPr>
          <a:xfrm>
            <a:off x="1597063" y="1063617"/>
            <a:ext cx="2209621" cy="933589"/>
          </a:xfrm>
          <a:prstGeom prst="rect">
            <a:avLst/>
          </a:prstGeom>
        </p:spPr>
        <p:txBody>
          <a:bodyPr vert="horz" wrap="square" lIns="0" tIns="12573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90"/>
              </a:spcBef>
            </a:pPr>
            <a:r>
              <a:rPr sz="1800" b="1" spc="-105" dirty="0">
                <a:solidFill>
                  <a:srgbClr val="FF7900"/>
                </a:solidFill>
                <a:latin typeface="Tahoma"/>
                <a:cs typeface="Tahoma"/>
              </a:rPr>
              <a:t>1</a:t>
            </a:r>
            <a:r>
              <a:rPr sz="1800" b="1" spc="-150" dirty="0">
                <a:solidFill>
                  <a:srgbClr val="FF7900"/>
                </a:solidFill>
                <a:latin typeface="Tahoma"/>
                <a:cs typeface="Tahoma"/>
              </a:rPr>
              <a:t> </a:t>
            </a:r>
            <a:r>
              <a:rPr sz="1800" b="1" spc="100" dirty="0">
                <a:solidFill>
                  <a:srgbClr val="FF7900"/>
                </a:solidFill>
                <a:latin typeface="Tahoma"/>
                <a:cs typeface="Tahoma"/>
              </a:rPr>
              <a:t>э</a:t>
            </a:r>
            <a:r>
              <a:rPr sz="1800" b="1" spc="120" dirty="0">
                <a:solidFill>
                  <a:srgbClr val="FF7900"/>
                </a:solidFill>
                <a:latin typeface="Tahoma"/>
                <a:cs typeface="Tahoma"/>
              </a:rPr>
              <a:t>т</a:t>
            </a:r>
            <a:r>
              <a:rPr sz="1800" b="1" spc="75" dirty="0">
                <a:solidFill>
                  <a:srgbClr val="FF7900"/>
                </a:solidFill>
                <a:latin typeface="Tahoma"/>
                <a:cs typeface="Tahoma"/>
              </a:rPr>
              <a:t>ап</a:t>
            </a:r>
            <a:endParaRPr sz="1800" b="1" dirty="0">
              <a:latin typeface="Tahoma"/>
              <a:cs typeface="Tahoma"/>
            </a:endParaRPr>
          </a:p>
          <a:p>
            <a:pPr marL="12700" marR="5080" algn="ctr">
              <a:lnSpc>
                <a:spcPct val="111100"/>
              </a:lnSpc>
              <a:spcBef>
                <a:spcPts val="434"/>
              </a:spcBef>
            </a:pPr>
            <a:r>
              <a:rPr sz="1400" b="1" spc="40" dirty="0" err="1">
                <a:latin typeface="Tahoma"/>
                <a:cs typeface="Tahoma"/>
              </a:rPr>
              <a:t>Анализ</a:t>
            </a:r>
            <a:r>
              <a:rPr sz="1400" b="1" spc="-75" dirty="0">
                <a:latin typeface="Tahoma"/>
                <a:cs typeface="Tahoma"/>
              </a:rPr>
              <a:t> </a:t>
            </a:r>
            <a:r>
              <a:rPr lang="ru-RU" sz="1400" b="1" spc="-75" dirty="0" smtClean="0">
                <a:latin typeface="Tahoma"/>
                <a:cs typeface="Tahoma"/>
              </a:rPr>
              <a:t>с</a:t>
            </a:r>
            <a:r>
              <a:rPr sz="1400" b="1" spc="55" dirty="0" err="1" smtClean="0">
                <a:latin typeface="Tahoma"/>
                <a:cs typeface="Tahoma"/>
              </a:rPr>
              <a:t>обственных</a:t>
            </a:r>
            <a:r>
              <a:rPr sz="1400" b="1" spc="55" dirty="0" smtClean="0">
                <a:latin typeface="Tahoma"/>
                <a:cs typeface="Tahoma"/>
              </a:rPr>
              <a:t> </a:t>
            </a:r>
            <a:r>
              <a:rPr sz="1400" b="1" spc="-360" dirty="0" smtClean="0">
                <a:latin typeface="Tahoma"/>
                <a:cs typeface="Tahoma"/>
              </a:rPr>
              <a:t> </a:t>
            </a:r>
            <a:r>
              <a:rPr sz="1400" b="1" spc="45" dirty="0">
                <a:latin typeface="Tahoma"/>
                <a:cs typeface="Tahoma"/>
              </a:rPr>
              <a:t>архивов</a:t>
            </a:r>
            <a:endParaRPr sz="1400" b="1" dirty="0">
              <a:latin typeface="Tahoma"/>
              <a:cs typeface="Tahoma"/>
            </a:endParaRPr>
          </a:p>
        </p:txBody>
      </p:sp>
      <p:sp>
        <p:nvSpPr>
          <p:cNvPr id="27" name="object 13"/>
          <p:cNvSpPr/>
          <p:nvPr/>
        </p:nvSpPr>
        <p:spPr>
          <a:xfrm>
            <a:off x="869109" y="1060298"/>
            <a:ext cx="3115945" cy="1122680"/>
          </a:xfrm>
          <a:custGeom>
            <a:avLst/>
            <a:gdLst/>
            <a:ahLst/>
            <a:cxnLst/>
            <a:rect l="l" t="t" r="r" b="b"/>
            <a:pathLst>
              <a:path w="3115945" h="1122679">
                <a:moveTo>
                  <a:pt x="561263" y="0"/>
                </a:moveTo>
                <a:lnTo>
                  <a:pt x="512835" y="2060"/>
                </a:lnTo>
                <a:lnTo>
                  <a:pt x="465550" y="8128"/>
                </a:lnTo>
                <a:lnTo>
                  <a:pt x="419578" y="18035"/>
                </a:lnTo>
                <a:lnTo>
                  <a:pt x="375087" y="31614"/>
                </a:lnTo>
                <a:lnTo>
                  <a:pt x="332246" y="48695"/>
                </a:lnTo>
                <a:lnTo>
                  <a:pt x="291222" y="69111"/>
                </a:lnTo>
                <a:lnTo>
                  <a:pt x="252185" y="92692"/>
                </a:lnTo>
                <a:lnTo>
                  <a:pt x="215303" y="119270"/>
                </a:lnTo>
                <a:lnTo>
                  <a:pt x="180744" y="148677"/>
                </a:lnTo>
                <a:lnTo>
                  <a:pt x="148677" y="180744"/>
                </a:lnTo>
                <a:lnTo>
                  <a:pt x="119270" y="215303"/>
                </a:lnTo>
                <a:lnTo>
                  <a:pt x="92692" y="252185"/>
                </a:lnTo>
                <a:lnTo>
                  <a:pt x="69111" y="291222"/>
                </a:lnTo>
                <a:lnTo>
                  <a:pt x="48695" y="332246"/>
                </a:lnTo>
                <a:lnTo>
                  <a:pt x="31614" y="375087"/>
                </a:lnTo>
                <a:lnTo>
                  <a:pt x="18035" y="419578"/>
                </a:lnTo>
                <a:lnTo>
                  <a:pt x="8128" y="465550"/>
                </a:lnTo>
                <a:lnTo>
                  <a:pt x="2060" y="512835"/>
                </a:lnTo>
                <a:lnTo>
                  <a:pt x="0" y="561263"/>
                </a:lnTo>
                <a:lnTo>
                  <a:pt x="2060" y="609692"/>
                </a:lnTo>
                <a:lnTo>
                  <a:pt x="8128" y="656977"/>
                </a:lnTo>
                <a:lnTo>
                  <a:pt x="18035" y="702949"/>
                </a:lnTo>
                <a:lnTo>
                  <a:pt x="31614" y="747441"/>
                </a:lnTo>
                <a:lnTo>
                  <a:pt x="48695" y="790283"/>
                </a:lnTo>
                <a:lnTo>
                  <a:pt x="69111" y="831307"/>
                </a:lnTo>
                <a:lnTo>
                  <a:pt x="92692" y="870345"/>
                </a:lnTo>
                <a:lnTo>
                  <a:pt x="119270" y="907229"/>
                </a:lnTo>
                <a:lnTo>
                  <a:pt x="148677" y="941789"/>
                </a:lnTo>
                <a:lnTo>
                  <a:pt x="180744" y="973857"/>
                </a:lnTo>
                <a:lnTo>
                  <a:pt x="215303" y="1003265"/>
                </a:lnTo>
                <a:lnTo>
                  <a:pt x="252185" y="1029844"/>
                </a:lnTo>
                <a:lnTo>
                  <a:pt x="291222" y="1053426"/>
                </a:lnTo>
                <a:lnTo>
                  <a:pt x="332246" y="1073842"/>
                </a:lnTo>
                <a:lnTo>
                  <a:pt x="375087" y="1090924"/>
                </a:lnTo>
                <a:lnTo>
                  <a:pt x="419578" y="1104503"/>
                </a:lnTo>
                <a:lnTo>
                  <a:pt x="465550" y="1114411"/>
                </a:lnTo>
                <a:lnTo>
                  <a:pt x="512835" y="1120480"/>
                </a:lnTo>
                <a:lnTo>
                  <a:pt x="561263" y="1122540"/>
                </a:lnTo>
                <a:lnTo>
                  <a:pt x="2554325" y="1122540"/>
                </a:lnTo>
                <a:lnTo>
                  <a:pt x="2602754" y="1120480"/>
                </a:lnTo>
                <a:lnTo>
                  <a:pt x="2650038" y="1114411"/>
                </a:lnTo>
                <a:lnTo>
                  <a:pt x="2696010" y="1104503"/>
                </a:lnTo>
                <a:lnTo>
                  <a:pt x="2740501" y="1090924"/>
                </a:lnTo>
                <a:lnTo>
                  <a:pt x="2783343" y="1073842"/>
                </a:lnTo>
                <a:lnTo>
                  <a:pt x="2824366" y="1053426"/>
                </a:lnTo>
                <a:lnTo>
                  <a:pt x="2863403" y="1029844"/>
                </a:lnTo>
                <a:lnTo>
                  <a:pt x="2900286" y="1003265"/>
                </a:lnTo>
                <a:lnTo>
                  <a:pt x="2934845" y="973857"/>
                </a:lnTo>
                <a:lnTo>
                  <a:pt x="2966912" y="941789"/>
                </a:lnTo>
                <a:lnTo>
                  <a:pt x="2996319" y="907229"/>
                </a:lnTo>
                <a:lnTo>
                  <a:pt x="3022897" y="870345"/>
                </a:lnTo>
                <a:lnTo>
                  <a:pt x="3046478" y="831307"/>
                </a:lnTo>
                <a:lnTo>
                  <a:pt x="3066893" y="790283"/>
                </a:lnTo>
                <a:lnTo>
                  <a:pt x="3083974" y="747441"/>
                </a:lnTo>
                <a:lnTo>
                  <a:pt x="3097553" y="702949"/>
                </a:lnTo>
                <a:lnTo>
                  <a:pt x="3107461" y="656977"/>
                </a:lnTo>
                <a:lnTo>
                  <a:pt x="3113529" y="609692"/>
                </a:lnTo>
                <a:lnTo>
                  <a:pt x="3115589" y="561263"/>
                </a:lnTo>
                <a:lnTo>
                  <a:pt x="3113529" y="512835"/>
                </a:lnTo>
                <a:lnTo>
                  <a:pt x="3107461" y="465550"/>
                </a:lnTo>
                <a:lnTo>
                  <a:pt x="3097553" y="419578"/>
                </a:lnTo>
                <a:lnTo>
                  <a:pt x="3083974" y="375087"/>
                </a:lnTo>
                <a:lnTo>
                  <a:pt x="3066893" y="332246"/>
                </a:lnTo>
                <a:lnTo>
                  <a:pt x="3046478" y="291222"/>
                </a:lnTo>
                <a:lnTo>
                  <a:pt x="3022897" y="252185"/>
                </a:lnTo>
                <a:lnTo>
                  <a:pt x="2996319" y="215303"/>
                </a:lnTo>
                <a:lnTo>
                  <a:pt x="2966912" y="180744"/>
                </a:lnTo>
                <a:lnTo>
                  <a:pt x="2934845" y="148677"/>
                </a:lnTo>
                <a:lnTo>
                  <a:pt x="2900286" y="119270"/>
                </a:lnTo>
                <a:lnTo>
                  <a:pt x="2863403" y="92692"/>
                </a:lnTo>
                <a:lnTo>
                  <a:pt x="2824366" y="69111"/>
                </a:lnTo>
                <a:lnTo>
                  <a:pt x="2783343" y="48695"/>
                </a:lnTo>
                <a:lnTo>
                  <a:pt x="2740501" y="31614"/>
                </a:lnTo>
                <a:lnTo>
                  <a:pt x="2696010" y="18035"/>
                </a:lnTo>
                <a:lnTo>
                  <a:pt x="2650038" y="8128"/>
                </a:lnTo>
                <a:lnTo>
                  <a:pt x="2602754" y="2060"/>
                </a:lnTo>
                <a:lnTo>
                  <a:pt x="2554325" y="0"/>
                </a:lnTo>
                <a:lnTo>
                  <a:pt x="561263" y="0"/>
                </a:lnTo>
                <a:close/>
              </a:path>
            </a:pathLst>
          </a:custGeom>
          <a:ln w="25399">
            <a:solidFill>
              <a:srgbClr val="FF7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16"/>
          <p:cNvSpPr txBox="1"/>
          <p:nvPr/>
        </p:nvSpPr>
        <p:spPr>
          <a:xfrm>
            <a:off x="4971097" y="1073666"/>
            <a:ext cx="2329788" cy="9489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lang="ru-RU" sz="1800" b="1" spc="150" dirty="0">
                <a:solidFill>
                  <a:srgbClr val="FBBA00"/>
                </a:solidFill>
                <a:latin typeface="Tahoma"/>
                <a:cs typeface="Tahoma"/>
              </a:rPr>
              <a:t>2</a:t>
            </a:r>
            <a:r>
              <a:rPr lang="ru-RU" sz="1800" b="1" spc="-145" dirty="0">
                <a:solidFill>
                  <a:srgbClr val="FBBA00"/>
                </a:solidFill>
                <a:latin typeface="Tahoma"/>
                <a:cs typeface="Tahoma"/>
              </a:rPr>
              <a:t> </a:t>
            </a:r>
            <a:r>
              <a:rPr lang="ru-RU" sz="1800" b="1" spc="100" dirty="0">
                <a:solidFill>
                  <a:srgbClr val="FBBA00"/>
                </a:solidFill>
                <a:latin typeface="Tahoma"/>
                <a:cs typeface="Tahoma"/>
              </a:rPr>
              <a:t>э</a:t>
            </a:r>
            <a:r>
              <a:rPr lang="ru-RU" sz="1800" b="1" spc="120" dirty="0">
                <a:solidFill>
                  <a:srgbClr val="FBBA00"/>
                </a:solidFill>
                <a:latin typeface="Tahoma"/>
                <a:cs typeface="Tahoma"/>
              </a:rPr>
              <a:t>т</a:t>
            </a:r>
            <a:r>
              <a:rPr lang="ru-RU" sz="1800" b="1" spc="75" dirty="0">
                <a:solidFill>
                  <a:srgbClr val="FBBA00"/>
                </a:solidFill>
                <a:latin typeface="Tahoma"/>
                <a:cs typeface="Tahoma"/>
              </a:rPr>
              <a:t>ап</a:t>
            </a:r>
            <a:endParaRPr lang="ru-RU" sz="1800" b="1" dirty="0">
              <a:latin typeface="Tahoma"/>
              <a:cs typeface="Tahoma"/>
            </a:endParaRPr>
          </a:p>
          <a:p>
            <a:pPr marL="12700" algn="ctr">
              <a:spcBef>
                <a:spcPts val="100"/>
              </a:spcBef>
            </a:pPr>
            <a:r>
              <a:rPr sz="1400" b="1" spc="40" dirty="0" err="1" smtClean="0">
                <a:latin typeface="Tahoma"/>
                <a:cs typeface="Tahoma"/>
              </a:rPr>
              <a:t>Направлени</a:t>
            </a:r>
            <a:r>
              <a:rPr sz="1400" b="1" spc="65" dirty="0" err="1" smtClean="0">
                <a:latin typeface="Tahoma"/>
                <a:cs typeface="Tahoma"/>
              </a:rPr>
              <a:t>е</a:t>
            </a:r>
            <a:r>
              <a:rPr lang="en-US" sz="1400" b="1" spc="65" dirty="0" smtClean="0">
                <a:latin typeface="Tahoma"/>
                <a:cs typeface="Tahoma"/>
              </a:rPr>
              <a:t> </a:t>
            </a:r>
            <a:r>
              <a:rPr lang="ru-RU" sz="1400" b="1" spc="50" dirty="0">
                <a:latin typeface="Tahoma"/>
                <a:cs typeface="Tahoma"/>
              </a:rPr>
              <a:t>запросов</a:t>
            </a:r>
            <a:r>
              <a:rPr lang="ru-RU" sz="1400" b="1" spc="-55" dirty="0">
                <a:latin typeface="Tahoma"/>
                <a:cs typeface="Tahoma"/>
              </a:rPr>
              <a:t> </a:t>
            </a:r>
            <a:r>
              <a:rPr lang="ru-RU" sz="1400" b="1" spc="40" dirty="0">
                <a:latin typeface="Tahoma"/>
                <a:cs typeface="Tahoma"/>
              </a:rPr>
              <a:t>в различные</a:t>
            </a:r>
            <a:r>
              <a:rPr lang="ru-RU" sz="1400" b="1" spc="-50" dirty="0">
                <a:latin typeface="Tahoma"/>
                <a:cs typeface="Tahoma"/>
              </a:rPr>
              <a:t> </a:t>
            </a:r>
            <a:r>
              <a:rPr lang="ru-RU" sz="1400" b="1" spc="45" dirty="0" smtClean="0">
                <a:latin typeface="Tahoma"/>
                <a:cs typeface="Tahoma"/>
              </a:rPr>
              <a:t>органы</a:t>
            </a:r>
            <a:r>
              <a:rPr lang="ru-RU" sz="1400" b="1" spc="-70" dirty="0" smtClean="0">
                <a:latin typeface="Tahoma"/>
                <a:cs typeface="Tahoma"/>
              </a:rPr>
              <a:t> </a:t>
            </a:r>
            <a:r>
              <a:rPr lang="en-US" sz="1400" b="1" spc="-70" dirty="0" smtClean="0">
                <a:latin typeface="Tahoma"/>
                <a:cs typeface="Tahoma"/>
              </a:rPr>
              <a:t>    </a:t>
            </a:r>
            <a:r>
              <a:rPr lang="ru-RU" sz="1400" b="1" spc="35" dirty="0" smtClean="0">
                <a:latin typeface="Tahoma"/>
                <a:cs typeface="Tahoma"/>
              </a:rPr>
              <a:t>и</a:t>
            </a:r>
            <a:r>
              <a:rPr lang="ru-RU" sz="1400" b="1" spc="-70" dirty="0" smtClean="0">
                <a:latin typeface="Tahoma"/>
                <a:cs typeface="Tahoma"/>
              </a:rPr>
              <a:t> </a:t>
            </a:r>
            <a:r>
              <a:rPr lang="ru-RU" sz="1400" b="1" spc="45" dirty="0" smtClean="0">
                <a:latin typeface="Tahoma"/>
                <a:cs typeface="Tahoma"/>
              </a:rPr>
              <a:t>организации</a:t>
            </a:r>
            <a:r>
              <a:rPr lang="en-US" sz="1400" b="1" spc="65" dirty="0" smtClean="0">
                <a:latin typeface="Tahoma"/>
                <a:cs typeface="Tahoma"/>
              </a:rPr>
              <a:t> </a:t>
            </a:r>
            <a:endParaRPr sz="1400" b="1" dirty="0">
              <a:latin typeface="Tahoma"/>
              <a:cs typeface="Tahoma"/>
            </a:endParaRPr>
          </a:p>
        </p:txBody>
      </p:sp>
      <p:sp>
        <p:nvSpPr>
          <p:cNvPr id="36" name="object 21"/>
          <p:cNvSpPr/>
          <p:nvPr/>
        </p:nvSpPr>
        <p:spPr>
          <a:xfrm>
            <a:off x="4280602" y="1060298"/>
            <a:ext cx="3115945" cy="1122680"/>
          </a:xfrm>
          <a:custGeom>
            <a:avLst/>
            <a:gdLst/>
            <a:ahLst/>
            <a:cxnLst/>
            <a:rect l="l" t="t" r="r" b="b"/>
            <a:pathLst>
              <a:path w="3115945" h="1122679">
                <a:moveTo>
                  <a:pt x="561263" y="0"/>
                </a:moveTo>
                <a:lnTo>
                  <a:pt x="512835" y="2060"/>
                </a:lnTo>
                <a:lnTo>
                  <a:pt x="465550" y="8128"/>
                </a:lnTo>
                <a:lnTo>
                  <a:pt x="419578" y="18035"/>
                </a:lnTo>
                <a:lnTo>
                  <a:pt x="375087" y="31614"/>
                </a:lnTo>
                <a:lnTo>
                  <a:pt x="332246" y="48695"/>
                </a:lnTo>
                <a:lnTo>
                  <a:pt x="291222" y="69111"/>
                </a:lnTo>
                <a:lnTo>
                  <a:pt x="252185" y="92692"/>
                </a:lnTo>
                <a:lnTo>
                  <a:pt x="215303" y="119270"/>
                </a:lnTo>
                <a:lnTo>
                  <a:pt x="180744" y="148677"/>
                </a:lnTo>
                <a:lnTo>
                  <a:pt x="148677" y="180744"/>
                </a:lnTo>
                <a:lnTo>
                  <a:pt x="119270" y="215303"/>
                </a:lnTo>
                <a:lnTo>
                  <a:pt x="92692" y="252185"/>
                </a:lnTo>
                <a:lnTo>
                  <a:pt x="69111" y="291222"/>
                </a:lnTo>
                <a:lnTo>
                  <a:pt x="48695" y="332246"/>
                </a:lnTo>
                <a:lnTo>
                  <a:pt x="31614" y="375087"/>
                </a:lnTo>
                <a:lnTo>
                  <a:pt x="18035" y="419578"/>
                </a:lnTo>
                <a:lnTo>
                  <a:pt x="8128" y="465550"/>
                </a:lnTo>
                <a:lnTo>
                  <a:pt x="2060" y="512835"/>
                </a:lnTo>
                <a:lnTo>
                  <a:pt x="0" y="561263"/>
                </a:lnTo>
                <a:lnTo>
                  <a:pt x="2060" y="609692"/>
                </a:lnTo>
                <a:lnTo>
                  <a:pt x="8128" y="656977"/>
                </a:lnTo>
                <a:lnTo>
                  <a:pt x="18035" y="702949"/>
                </a:lnTo>
                <a:lnTo>
                  <a:pt x="31614" y="747441"/>
                </a:lnTo>
                <a:lnTo>
                  <a:pt x="48695" y="790283"/>
                </a:lnTo>
                <a:lnTo>
                  <a:pt x="69111" y="831307"/>
                </a:lnTo>
                <a:lnTo>
                  <a:pt x="92692" y="870345"/>
                </a:lnTo>
                <a:lnTo>
                  <a:pt x="119270" y="907229"/>
                </a:lnTo>
                <a:lnTo>
                  <a:pt x="148677" y="941789"/>
                </a:lnTo>
                <a:lnTo>
                  <a:pt x="180744" y="973857"/>
                </a:lnTo>
                <a:lnTo>
                  <a:pt x="215303" y="1003265"/>
                </a:lnTo>
                <a:lnTo>
                  <a:pt x="252185" y="1029844"/>
                </a:lnTo>
                <a:lnTo>
                  <a:pt x="291222" y="1053426"/>
                </a:lnTo>
                <a:lnTo>
                  <a:pt x="332246" y="1073842"/>
                </a:lnTo>
                <a:lnTo>
                  <a:pt x="375087" y="1090924"/>
                </a:lnTo>
                <a:lnTo>
                  <a:pt x="419578" y="1104503"/>
                </a:lnTo>
                <a:lnTo>
                  <a:pt x="465550" y="1114411"/>
                </a:lnTo>
                <a:lnTo>
                  <a:pt x="512835" y="1120480"/>
                </a:lnTo>
                <a:lnTo>
                  <a:pt x="561263" y="1122540"/>
                </a:lnTo>
                <a:lnTo>
                  <a:pt x="2554325" y="1122540"/>
                </a:lnTo>
                <a:lnTo>
                  <a:pt x="2602754" y="1120480"/>
                </a:lnTo>
                <a:lnTo>
                  <a:pt x="2650038" y="1114411"/>
                </a:lnTo>
                <a:lnTo>
                  <a:pt x="2696010" y="1104503"/>
                </a:lnTo>
                <a:lnTo>
                  <a:pt x="2740501" y="1090924"/>
                </a:lnTo>
                <a:lnTo>
                  <a:pt x="2783343" y="1073842"/>
                </a:lnTo>
                <a:lnTo>
                  <a:pt x="2824366" y="1053426"/>
                </a:lnTo>
                <a:lnTo>
                  <a:pt x="2863403" y="1029844"/>
                </a:lnTo>
                <a:lnTo>
                  <a:pt x="2900286" y="1003265"/>
                </a:lnTo>
                <a:lnTo>
                  <a:pt x="2934845" y="973857"/>
                </a:lnTo>
                <a:lnTo>
                  <a:pt x="2966912" y="941789"/>
                </a:lnTo>
                <a:lnTo>
                  <a:pt x="2996319" y="907229"/>
                </a:lnTo>
                <a:lnTo>
                  <a:pt x="3022897" y="870345"/>
                </a:lnTo>
                <a:lnTo>
                  <a:pt x="3046478" y="831307"/>
                </a:lnTo>
                <a:lnTo>
                  <a:pt x="3066893" y="790283"/>
                </a:lnTo>
                <a:lnTo>
                  <a:pt x="3083974" y="747441"/>
                </a:lnTo>
                <a:lnTo>
                  <a:pt x="3097553" y="702949"/>
                </a:lnTo>
                <a:lnTo>
                  <a:pt x="3107461" y="656977"/>
                </a:lnTo>
                <a:lnTo>
                  <a:pt x="3113529" y="609692"/>
                </a:lnTo>
                <a:lnTo>
                  <a:pt x="3115589" y="561263"/>
                </a:lnTo>
                <a:lnTo>
                  <a:pt x="3113529" y="512835"/>
                </a:lnTo>
                <a:lnTo>
                  <a:pt x="3107461" y="465550"/>
                </a:lnTo>
                <a:lnTo>
                  <a:pt x="3097553" y="419578"/>
                </a:lnTo>
                <a:lnTo>
                  <a:pt x="3083974" y="375087"/>
                </a:lnTo>
                <a:lnTo>
                  <a:pt x="3066893" y="332246"/>
                </a:lnTo>
                <a:lnTo>
                  <a:pt x="3046478" y="291222"/>
                </a:lnTo>
                <a:lnTo>
                  <a:pt x="3022897" y="252185"/>
                </a:lnTo>
                <a:lnTo>
                  <a:pt x="2996319" y="215303"/>
                </a:lnTo>
                <a:lnTo>
                  <a:pt x="2966912" y="180744"/>
                </a:lnTo>
                <a:lnTo>
                  <a:pt x="2934845" y="148677"/>
                </a:lnTo>
                <a:lnTo>
                  <a:pt x="2900286" y="119270"/>
                </a:lnTo>
                <a:lnTo>
                  <a:pt x="2863403" y="92692"/>
                </a:lnTo>
                <a:lnTo>
                  <a:pt x="2824366" y="69111"/>
                </a:lnTo>
                <a:lnTo>
                  <a:pt x="2783343" y="48695"/>
                </a:lnTo>
                <a:lnTo>
                  <a:pt x="2740501" y="31614"/>
                </a:lnTo>
                <a:lnTo>
                  <a:pt x="2696010" y="18035"/>
                </a:lnTo>
                <a:lnTo>
                  <a:pt x="2650038" y="8128"/>
                </a:lnTo>
                <a:lnTo>
                  <a:pt x="2602754" y="2060"/>
                </a:lnTo>
                <a:lnTo>
                  <a:pt x="2554325" y="0"/>
                </a:lnTo>
                <a:lnTo>
                  <a:pt x="561263" y="0"/>
                </a:lnTo>
                <a:close/>
              </a:path>
            </a:pathLst>
          </a:custGeom>
          <a:ln w="25399">
            <a:solidFill>
              <a:srgbClr val="FBBA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4"/>
          <p:cNvSpPr txBox="1"/>
          <p:nvPr/>
        </p:nvSpPr>
        <p:spPr>
          <a:xfrm>
            <a:off x="3984704" y="3414651"/>
            <a:ext cx="2959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  <a:tabLst>
                <a:tab pos="282575" algn="l"/>
              </a:tabLst>
            </a:pPr>
            <a:r>
              <a:rPr sz="1200" u="heavy" dirty="0">
                <a:uFill>
                  <a:solidFill>
                    <a:srgbClr val="BFE2FF"/>
                  </a:solidFill>
                </a:uFill>
                <a:latin typeface="Times New Roman"/>
                <a:cs typeface="Times New Roman"/>
              </a:rPr>
              <a:t> 	</a:t>
            </a:r>
            <a:endParaRPr sz="1200">
              <a:latin typeface="Times New Roman"/>
              <a:cs typeface="Times New Roman"/>
            </a:endParaRPr>
          </a:p>
        </p:txBody>
      </p:sp>
      <p:sp>
        <p:nvSpPr>
          <p:cNvPr id="44" name="object 25"/>
          <p:cNvSpPr txBox="1"/>
          <p:nvPr/>
        </p:nvSpPr>
        <p:spPr>
          <a:xfrm>
            <a:off x="1589296" y="2983276"/>
            <a:ext cx="2225156" cy="902169"/>
          </a:xfrm>
          <a:prstGeom prst="rect">
            <a:avLst/>
          </a:prstGeom>
        </p:spPr>
        <p:txBody>
          <a:bodyPr vert="horz" wrap="square" lIns="0" tIns="107314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844"/>
              </a:spcBef>
            </a:pPr>
            <a:r>
              <a:rPr sz="1800" b="1" spc="200" dirty="0" smtClean="0">
                <a:solidFill>
                  <a:srgbClr val="0BBBEF"/>
                </a:solidFill>
                <a:latin typeface="Tahoma"/>
                <a:cs typeface="Tahoma"/>
              </a:rPr>
              <a:t>3</a:t>
            </a:r>
            <a:r>
              <a:rPr sz="1800" b="1" spc="-150" dirty="0" smtClean="0">
                <a:solidFill>
                  <a:srgbClr val="0BBBEF"/>
                </a:solidFill>
                <a:latin typeface="Tahoma"/>
                <a:cs typeface="Tahoma"/>
              </a:rPr>
              <a:t> </a:t>
            </a:r>
            <a:r>
              <a:rPr sz="1800" b="1" spc="100" dirty="0">
                <a:solidFill>
                  <a:srgbClr val="0BBBEF"/>
                </a:solidFill>
                <a:latin typeface="Tahoma"/>
                <a:cs typeface="Tahoma"/>
              </a:rPr>
              <a:t>э</a:t>
            </a:r>
            <a:r>
              <a:rPr sz="1800" b="1" spc="120" dirty="0">
                <a:solidFill>
                  <a:srgbClr val="0BBBEF"/>
                </a:solidFill>
                <a:latin typeface="Tahoma"/>
                <a:cs typeface="Tahoma"/>
              </a:rPr>
              <a:t>т</a:t>
            </a:r>
            <a:r>
              <a:rPr sz="1800" b="1" spc="75" dirty="0">
                <a:solidFill>
                  <a:srgbClr val="0BBBEF"/>
                </a:solidFill>
                <a:latin typeface="Tahoma"/>
                <a:cs typeface="Tahoma"/>
              </a:rPr>
              <a:t>ап</a:t>
            </a:r>
            <a:endParaRPr sz="1800" b="1" dirty="0">
              <a:latin typeface="Tahoma"/>
              <a:cs typeface="Tahoma"/>
            </a:endParaRPr>
          </a:p>
          <a:p>
            <a:pPr marL="12700" marR="5080" algn="ctr">
              <a:lnSpc>
                <a:spcPct val="111100"/>
              </a:lnSpc>
              <a:spcBef>
                <a:spcPts val="340"/>
              </a:spcBef>
            </a:pPr>
            <a:r>
              <a:rPr sz="1400" b="1" spc="50" dirty="0">
                <a:latin typeface="Tahoma"/>
                <a:cs typeface="Tahoma"/>
              </a:rPr>
              <a:t>Обобщение </a:t>
            </a:r>
            <a:r>
              <a:rPr sz="1400" b="1" spc="35" dirty="0">
                <a:latin typeface="Tahoma"/>
                <a:cs typeface="Tahoma"/>
              </a:rPr>
              <a:t>и </a:t>
            </a:r>
            <a:r>
              <a:rPr sz="1400" b="1" spc="40" dirty="0">
                <a:latin typeface="Tahoma"/>
                <a:cs typeface="Tahoma"/>
              </a:rPr>
              <a:t>анализ </a:t>
            </a:r>
            <a:r>
              <a:rPr sz="1400" b="1" spc="45" dirty="0">
                <a:latin typeface="Tahoma"/>
                <a:cs typeface="Tahoma"/>
              </a:rPr>
              <a:t> </a:t>
            </a:r>
            <a:r>
              <a:rPr sz="1400" b="1" spc="40" dirty="0">
                <a:latin typeface="Tahoma"/>
                <a:cs typeface="Tahoma"/>
              </a:rPr>
              <a:t>полученных</a:t>
            </a:r>
            <a:r>
              <a:rPr sz="1400" b="1" spc="-85" dirty="0">
                <a:latin typeface="Tahoma"/>
                <a:cs typeface="Tahoma"/>
              </a:rPr>
              <a:t> </a:t>
            </a:r>
            <a:r>
              <a:rPr sz="1400" b="1" spc="50" dirty="0">
                <a:latin typeface="Tahoma"/>
                <a:cs typeface="Tahoma"/>
              </a:rPr>
              <a:t>сведений</a:t>
            </a:r>
            <a:endParaRPr sz="1400" b="1" dirty="0">
              <a:latin typeface="Tahoma"/>
              <a:cs typeface="Tahoma"/>
            </a:endParaRPr>
          </a:p>
        </p:txBody>
      </p:sp>
      <p:sp>
        <p:nvSpPr>
          <p:cNvPr id="51" name="object 27"/>
          <p:cNvSpPr/>
          <p:nvPr/>
        </p:nvSpPr>
        <p:spPr>
          <a:xfrm>
            <a:off x="869109" y="3024814"/>
            <a:ext cx="3115945" cy="1122680"/>
          </a:xfrm>
          <a:custGeom>
            <a:avLst/>
            <a:gdLst/>
            <a:ahLst/>
            <a:cxnLst/>
            <a:rect l="l" t="t" r="r" b="b"/>
            <a:pathLst>
              <a:path w="3115945" h="1122679">
                <a:moveTo>
                  <a:pt x="561263" y="0"/>
                </a:moveTo>
                <a:lnTo>
                  <a:pt x="512835" y="2060"/>
                </a:lnTo>
                <a:lnTo>
                  <a:pt x="465550" y="8128"/>
                </a:lnTo>
                <a:lnTo>
                  <a:pt x="419578" y="18035"/>
                </a:lnTo>
                <a:lnTo>
                  <a:pt x="375087" y="31614"/>
                </a:lnTo>
                <a:lnTo>
                  <a:pt x="332246" y="48695"/>
                </a:lnTo>
                <a:lnTo>
                  <a:pt x="291222" y="69111"/>
                </a:lnTo>
                <a:lnTo>
                  <a:pt x="252185" y="92692"/>
                </a:lnTo>
                <a:lnTo>
                  <a:pt x="215303" y="119270"/>
                </a:lnTo>
                <a:lnTo>
                  <a:pt x="180744" y="148677"/>
                </a:lnTo>
                <a:lnTo>
                  <a:pt x="148677" y="180744"/>
                </a:lnTo>
                <a:lnTo>
                  <a:pt x="119270" y="215303"/>
                </a:lnTo>
                <a:lnTo>
                  <a:pt x="92692" y="252185"/>
                </a:lnTo>
                <a:lnTo>
                  <a:pt x="69111" y="291222"/>
                </a:lnTo>
                <a:lnTo>
                  <a:pt x="48695" y="332246"/>
                </a:lnTo>
                <a:lnTo>
                  <a:pt x="31614" y="375087"/>
                </a:lnTo>
                <a:lnTo>
                  <a:pt x="18035" y="419578"/>
                </a:lnTo>
                <a:lnTo>
                  <a:pt x="8128" y="465550"/>
                </a:lnTo>
                <a:lnTo>
                  <a:pt x="2060" y="512835"/>
                </a:lnTo>
                <a:lnTo>
                  <a:pt x="0" y="561263"/>
                </a:lnTo>
                <a:lnTo>
                  <a:pt x="2060" y="609692"/>
                </a:lnTo>
                <a:lnTo>
                  <a:pt x="8128" y="656977"/>
                </a:lnTo>
                <a:lnTo>
                  <a:pt x="18035" y="702949"/>
                </a:lnTo>
                <a:lnTo>
                  <a:pt x="31614" y="747441"/>
                </a:lnTo>
                <a:lnTo>
                  <a:pt x="48695" y="790283"/>
                </a:lnTo>
                <a:lnTo>
                  <a:pt x="69111" y="831307"/>
                </a:lnTo>
                <a:lnTo>
                  <a:pt x="92692" y="870345"/>
                </a:lnTo>
                <a:lnTo>
                  <a:pt x="119270" y="907229"/>
                </a:lnTo>
                <a:lnTo>
                  <a:pt x="148677" y="941789"/>
                </a:lnTo>
                <a:lnTo>
                  <a:pt x="180744" y="973857"/>
                </a:lnTo>
                <a:lnTo>
                  <a:pt x="215303" y="1003265"/>
                </a:lnTo>
                <a:lnTo>
                  <a:pt x="252185" y="1029844"/>
                </a:lnTo>
                <a:lnTo>
                  <a:pt x="291222" y="1053426"/>
                </a:lnTo>
                <a:lnTo>
                  <a:pt x="332246" y="1073842"/>
                </a:lnTo>
                <a:lnTo>
                  <a:pt x="375087" y="1090924"/>
                </a:lnTo>
                <a:lnTo>
                  <a:pt x="419578" y="1104503"/>
                </a:lnTo>
                <a:lnTo>
                  <a:pt x="465550" y="1114411"/>
                </a:lnTo>
                <a:lnTo>
                  <a:pt x="512835" y="1120480"/>
                </a:lnTo>
                <a:lnTo>
                  <a:pt x="561263" y="1122540"/>
                </a:lnTo>
                <a:lnTo>
                  <a:pt x="2554325" y="1122540"/>
                </a:lnTo>
                <a:lnTo>
                  <a:pt x="2602754" y="1120480"/>
                </a:lnTo>
                <a:lnTo>
                  <a:pt x="2650038" y="1114411"/>
                </a:lnTo>
                <a:lnTo>
                  <a:pt x="2696010" y="1104503"/>
                </a:lnTo>
                <a:lnTo>
                  <a:pt x="2740501" y="1090924"/>
                </a:lnTo>
                <a:lnTo>
                  <a:pt x="2783343" y="1073842"/>
                </a:lnTo>
                <a:lnTo>
                  <a:pt x="2824366" y="1053426"/>
                </a:lnTo>
                <a:lnTo>
                  <a:pt x="2863403" y="1029844"/>
                </a:lnTo>
                <a:lnTo>
                  <a:pt x="2900286" y="1003265"/>
                </a:lnTo>
                <a:lnTo>
                  <a:pt x="2934845" y="973857"/>
                </a:lnTo>
                <a:lnTo>
                  <a:pt x="2966912" y="941789"/>
                </a:lnTo>
                <a:lnTo>
                  <a:pt x="2996319" y="907229"/>
                </a:lnTo>
                <a:lnTo>
                  <a:pt x="3022897" y="870345"/>
                </a:lnTo>
                <a:lnTo>
                  <a:pt x="3046478" y="831307"/>
                </a:lnTo>
                <a:lnTo>
                  <a:pt x="3066893" y="790283"/>
                </a:lnTo>
                <a:lnTo>
                  <a:pt x="3083974" y="747441"/>
                </a:lnTo>
                <a:lnTo>
                  <a:pt x="3097553" y="702949"/>
                </a:lnTo>
                <a:lnTo>
                  <a:pt x="3107461" y="656977"/>
                </a:lnTo>
                <a:lnTo>
                  <a:pt x="3113529" y="609692"/>
                </a:lnTo>
                <a:lnTo>
                  <a:pt x="3115589" y="561263"/>
                </a:lnTo>
                <a:lnTo>
                  <a:pt x="3113529" y="512835"/>
                </a:lnTo>
                <a:lnTo>
                  <a:pt x="3107461" y="465550"/>
                </a:lnTo>
                <a:lnTo>
                  <a:pt x="3097553" y="419578"/>
                </a:lnTo>
                <a:lnTo>
                  <a:pt x="3083974" y="375087"/>
                </a:lnTo>
                <a:lnTo>
                  <a:pt x="3066893" y="332246"/>
                </a:lnTo>
                <a:lnTo>
                  <a:pt x="3046478" y="291222"/>
                </a:lnTo>
                <a:lnTo>
                  <a:pt x="3022897" y="252185"/>
                </a:lnTo>
                <a:lnTo>
                  <a:pt x="2996319" y="215303"/>
                </a:lnTo>
                <a:lnTo>
                  <a:pt x="2966912" y="180744"/>
                </a:lnTo>
                <a:lnTo>
                  <a:pt x="2934845" y="148677"/>
                </a:lnTo>
                <a:lnTo>
                  <a:pt x="2900286" y="119270"/>
                </a:lnTo>
                <a:lnTo>
                  <a:pt x="2863403" y="92692"/>
                </a:lnTo>
                <a:lnTo>
                  <a:pt x="2824366" y="69111"/>
                </a:lnTo>
                <a:lnTo>
                  <a:pt x="2783343" y="48695"/>
                </a:lnTo>
                <a:lnTo>
                  <a:pt x="2740501" y="31614"/>
                </a:lnTo>
                <a:lnTo>
                  <a:pt x="2696010" y="18035"/>
                </a:lnTo>
                <a:lnTo>
                  <a:pt x="2650038" y="8128"/>
                </a:lnTo>
                <a:lnTo>
                  <a:pt x="2602754" y="2060"/>
                </a:lnTo>
                <a:lnTo>
                  <a:pt x="2554325" y="0"/>
                </a:lnTo>
                <a:lnTo>
                  <a:pt x="561263" y="0"/>
                </a:lnTo>
                <a:close/>
              </a:path>
            </a:pathLst>
          </a:custGeom>
          <a:ln w="25399">
            <a:solidFill>
              <a:srgbClr val="0BBBE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30"/>
          <p:cNvSpPr txBox="1"/>
          <p:nvPr/>
        </p:nvSpPr>
        <p:spPr>
          <a:xfrm>
            <a:off x="5006209" y="2994306"/>
            <a:ext cx="2265136" cy="1141337"/>
          </a:xfrm>
          <a:prstGeom prst="rect">
            <a:avLst/>
          </a:prstGeom>
        </p:spPr>
        <p:txBody>
          <a:bodyPr vert="horz" wrap="square" lIns="0" tIns="107314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844"/>
              </a:spcBef>
            </a:pPr>
            <a:r>
              <a:rPr sz="1800" b="1" spc="235" dirty="0">
                <a:solidFill>
                  <a:srgbClr val="008CFF"/>
                </a:solidFill>
                <a:latin typeface="Tahoma"/>
                <a:cs typeface="Tahoma"/>
              </a:rPr>
              <a:t>4</a:t>
            </a:r>
            <a:r>
              <a:rPr sz="1800" b="1" spc="-145" dirty="0">
                <a:solidFill>
                  <a:srgbClr val="008CFF"/>
                </a:solidFill>
                <a:latin typeface="Tahoma"/>
                <a:cs typeface="Tahoma"/>
              </a:rPr>
              <a:t> </a:t>
            </a:r>
            <a:r>
              <a:rPr sz="1800" b="1" spc="100" dirty="0">
                <a:solidFill>
                  <a:srgbClr val="008CFF"/>
                </a:solidFill>
                <a:latin typeface="Tahoma"/>
                <a:cs typeface="Tahoma"/>
              </a:rPr>
              <a:t>э</a:t>
            </a:r>
            <a:r>
              <a:rPr sz="1800" b="1" spc="120" dirty="0">
                <a:solidFill>
                  <a:srgbClr val="008CFF"/>
                </a:solidFill>
                <a:latin typeface="Tahoma"/>
                <a:cs typeface="Tahoma"/>
              </a:rPr>
              <a:t>т</a:t>
            </a:r>
            <a:r>
              <a:rPr sz="1800" b="1" spc="75" dirty="0">
                <a:solidFill>
                  <a:srgbClr val="008CFF"/>
                </a:solidFill>
                <a:latin typeface="Tahoma"/>
                <a:cs typeface="Tahoma"/>
              </a:rPr>
              <a:t>ап</a:t>
            </a:r>
            <a:endParaRPr sz="1800" b="1" dirty="0">
              <a:latin typeface="Tahoma"/>
              <a:cs typeface="Tahoma"/>
            </a:endParaRPr>
          </a:p>
          <a:p>
            <a:pPr marL="12700" marR="5080" algn="ctr">
              <a:lnSpc>
                <a:spcPct val="111100"/>
              </a:lnSpc>
              <a:spcBef>
                <a:spcPts val="340"/>
              </a:spcBef>
            </a:pPr>
            <a:r>
              <a:rPr sz="1400" b="1" spc="45" dirty="0">
                <a:latin typeface="Tahoma"/>
                <a:cs typeface="Tahoma"/>
              </a:rPr>
              <a:t>Подготовка проекта </a:t>
            </a:r>
            <a:r>
              <a:rPr sz="1400" b="1" spc="50" dirty="0">
                <a:latin typeface="Tahoma"/>
                <a:cs typeface="Tahoma"/>
              </a:rPr>
              <a:t> </a:t>
            </a:r>
            <a:r>
              <a:rPr sz="1400" b="1" spc="45" dirty="0">
                <a:latin typeface="Tahoma"/>
                <a:cs typeface="Tahoma"/>
              </a:rPr>
              <a:t>решения</a:t>
            </a:r>
            <a:r>
              <a:rPr sz="1400" b="1" spc="-80" dirty="0">
                <a:latin typeface="Tahoma"/>
                <a:cs typeface="Tahoma"/>
              </a:rPr>
              <a:t> </a:t>
            </a:r>
            <a:r>
              <a:rPr sz="1400" b="1" spc="60" dirty="0">
                <a:latin typeface="Tahoma"/>
                <a:cs typeface="Tahoma"/>
              </a:rPr>
              <a:t>о</a:t>
            </a:r>
            <a:r>
              <a:rPr sz="1400" b="1" spc="-80" dirty="0">
                <a:latin typeface="Tahoma"/>
                <a:cs typeface="Tahoma"/>
              </a:rPr>
              <a:t> </a:t>
            </a:r>
            <a:r>
              <a:rPr sz="1400" b="1" spc="40" dirty="0">
                <a:latin typeface="Tahoma"/>
                <a:cs typeface="Tahoma"/>
              </a:rPr>
              <a:t>выявлении </a:t>
            </a:r>
            <a:r>
              <a:rPr sz="1400" b="1" spc="-360" dirty="0">
                <a:latin typeface="Tahoma"/>
                <a:cs typeface="Tahoma"/>
              </a:rPr>
              <a:t> </a:t>
            </a:r>
            <a:r>
              <a:rPr sz="1400" b="1" spc="40" dirty="0">
                <a:latin typeface="Tahoma"/>
                <a:cs typeface="Tahoma"/>
              </a:rPr>
              <a:t>правообладателя</a:t>
            </a:r>
            <a:endParaRPr sz="1400" b="1" dirty="0">
              <a:latin typeface="Tahoma"/>
              <a:cs typeface="Tahoma"/>
            </a:endParaRPr>
          </a:p>
        </p:txBody>
      </p:sp>
      <p:sp>
        <p:nvSpPr>
          <p:cNvPr id="56" name="object 32"/>
          <p:cNvSpPr/>
          <p:nvPr/>
        </p:nvSpPr>
        <p:spPr>
          <a:xfrm>
            <a:off x="4281096" y="3024814"/>
            <a:ext cx="3115945" cy="1122680"/>
          </a:xfrm>
          <a:custGeom>
            <a:avLst/>
            <a:gdLst/>
            <a:ahLst/>
            <a:cxnLst/>
            <a:rect l="l" t="t" r="r" b="b"/>
            <a:pathLst>
              <a:path w="3115945" h="1122679">
                <a:moveTo>
                  <a:pt x="561263" y="0"/>
                </a:moveTo>
                <a:lnTo>
                  <a:pt x="512835" y="2060"/>
                </a:lnTo>
                <a:lnTo>
                  <a:pt x="465550" y="8128"/>
                </a:lnTo>
                <a:lnTo>
                  <a:pt x="419578" y="18035"/>
                </a:lnTo>
                <a:lnTo>
                  <a:pt x="375087" y="31614"/>
                </a:lnTo>
                <a:lnTo>
                  <a:pt x="332246" y="48695"/>
                </a:lnTo>
                <a:lnTo>
                  <a:pt x="291222" y="69111"/>
                </a:lnTo>
                <a:lnTo>
                  <a:pt x="252185" y="92692"/>
                </a:lnTo>
                <a:lnTo>
                  <a:pt x="215303" y="119270"/>
                </a:lnTo>
                <a:lnTo>
                  <a:pt x="180744" y="148677"/>
                </a:lnTo>
                <a:lnTo>
                  <a:pt x="148677" y="180744"/>
                </a:lnTo>
                <a:lnTo>
                  <a:pt x="119270" y="215303"/>
                </a:lnTo>
                <a:lnTo>
                  <a:pt x="92692" y="252185"/>
                </a:lnTo>
                <a:lnTo>
                  <a:pt x="69111" y="291222"/>
                </a:lnTo>
                <a:lnTo>
                  <a:pt x="48695" y="332246"/>
                </a:lnTo>
                <a:lnTo>
                  <a:pt x="31614" y="375087"/>
                </a:lnTo>
                <a:lnTo>
                  <a:pt x="18035" y="419578"/>
                </a:lnTo>
                <a:lnTo>
                  <a:pt x="8128" y="465550"/>
                </a:lnTo>
                <a:lnTo>
                  <a:pt x="2060" y="512835"/>
                </a:lnTo>
                <a:lnTo>
                  <a:pt x="0" y="561263"/>
                </a:lnTo>
                <a:lnTo>
                  <a:pt x="2060" y="609692"/>
                </a:lnTo>
                <a:lnTo>
                  <a:pt x="8128" y="656977"/>
                </a:lnTo>
                <a:lnTo>
                  <a:pt x="18035" y="702949"/>
                </a:lnTo>
                <a:lnTo>
                  <a:pt x="31614" y="747441"/>
                </a:lnTo>
                <a:lnTo>
                  <a:pt x="48695" y="790283"/>
                </a:lnTo>
                <a:lnTo>
                  <a:pt x="69111" y="831307"/>
                </a:lnTo>
                <a:lnTo>
                  <a:pt x="92692" y="870345"/>
                </a:lnTo>
                <a:lnTo>
                  <a:pt x="119270" y="907229"/>
                </a:lnTo>
                <a:lnTo>
                  <a:pt x="148677" y="941789"/>
                </a:lnTo>
                <a:lnTo>
                  <a:pt x="180744" y="973857"/>
                </a:lnTo>
                <a:lnTo>
                  <a:pt x="215303" y="1003265"/>
                </a:lnTo>
                <a:lnTo>
                  <a:pt x="252185" y="1029844"/>
                </a:lnTo>
                <a:lnTo>
                  <a:pt x="291222" y="1053426"/>
                </a:lnTo>
                <a:lnTo>
                  <a:pt x="332246" y="1073842"/>
                </a:lnTo>
                <a:lnTo>
                  <a:pt x="375087" y="1090924"/>
                </a:lnTo>
                <a:lnTo>
                  <a:pt x="419578" y="1104503"/>
                </a:lnTo>
                <a:lnTo>
                  <a:pt x="465550" y="1114411"/>
                </a:lnTo>
                <a:lnTo>
                  <a:pt x="512835" y="1120480"/>
                </a:lnTo>
                <a:lnTo>
                  <a:pt x="561263" y="1122540"/>
                </a:lnTo>
                <a:lnTo>
                  <a:pt x="2554325" y="1122540"/>
                </a:lnTo>
                <a:lnTo>
                  <a:pt x="2602754" y="1120480"/>
                </a:lnTo>
                <a:lnTo>
                  <a:pt x="2650038" y="1114411"/>
                </a:lnTo>
                <a:lnTo>
                  <a:pt x="2696010" y="1104503"/>
                </a:lnTo>
                <a:lnTo>
                  <a:pt x="2740501" y="1090924"/>
                </a:lnTo>
                <a:lnTo>
                  <a:pt x="2783343" y="1073842"/>
                </a:lnTo>
                <a:lnTo>
                  <a:pt x="2824366" y="1053426"/>
                </a:lnTo>
                <a:lnTo>
                  <a:pt x="2863403" y="1029844"/>
                </a:lnTo>
                <a:lnTo>
                  <a:pt x="2900286" y="1003265"/>
                </a:lnTo>
                <a:lnTo>
                  <a:pt x="2934845" y="973857"/>
                </a:lnTo>
                <a:lnTo>
                  <a:pt x="2966912" y="941789"/>
                </a:lnTo>
                <a:lnTo>
                  <a:pt x="2996319" y="907229"/>
                </a:lnTo>
                <a:lnTo>
                  <a:pt x="3022897" y="870345"/>
                </a:lnTo>
                <a:lnTo>
                  <a:pt x="3046478" y="831307"/>
                </a:lnTo>
                <a:lnTo>
                  <a:pt x="3066893" y="790283"/>
                </a:lnTo>
                <a:lnTo>
                  <a:pt x="3083974" y="747441"/>
                </a:lnTo>
                <a:lnTo>
                  <a:pt x="3097553" y="702949"/>
                </a:lnTo>
                <a:lnTo>
                  <a:pt x="3107461" y="656977"/>
                </a:lnTo>
                <a:lnTo>
                  <a:pt x="3113529" y="609692"/>
                </a:lnTo>
                <a:lnTo>
                  <a:pt x="3115589" y="561263"/>
                </a:lnTo>
                <a:lnTo>
                  <a:pt x="3113529" y="512835"/>
                </a:lnTo>
                <a:lnTo>
                  <a:pt x="3107461" y="465550"/>
                </a:lnTo>
                <a:lnTo>
                  <a:pt x="3097553" y="419578"/>
                </a:lnTo>
                <a:lnTo>
                  <a:pt x="3083974" y="375087"/>
                </a:lnTo>
                <a:lnTo>
                  <a:pt x="3066893" y="332246"/>
                </a:lnTo>
                <a:lnTo>
                  <a:pt x="3046478" y="291222"/>
                </a:lnTo>
                <a:lnTo>
                  <a:pt x="3022897" y="252185"/>
                </a:lnTo>
                <a:lnTo>
                  <a:pt x="2996319" y="215303"/>
                </a:lnTo>
                <a:lnTo>
                  <a:pt x="2966912" y="180744"/>
                </a:lnTo>
                <a:lnTo>
                  <a:pt x="2934845" y="148677"/>
                </a:lnTo>
                <a:lnTo>
                  <a:pt x="2900286" y="119270"/>
                </a:lnTo>
                <a:lnTo>
                  <a:pt x="2863403" y="92692"/>
                </a:lnTo>
                <a:lnTo>
                  <a:pt x="2824366" y="69111"/>
                </a:lnTo>
                <a:lnTo>
                  <a:pt x="2783343" y="48695"/>
                </a:lnTo>
                <a:lnTo>
                  <a:pt x="2740501" y="31614"/>
                </a:lnTo>
                <a:lnTo>
                  <a:pt x="2696010" y="18035"/>
                </a:lnTo>
                <a:lnTo>
                  <a:pt x="2650038" y="8128"/>
                </a:lnTo>
                <a:lnTo>
                  <a:pt x="2602754" y="2060"/>
                </a:lnTo>
                <a:lnTo>
                  <a:pt x="2554325" y="0"/>
                </a:lnTo>
                <a:lnTo>
                  <a:pt x="561263" y="0"/>
                </a:lnTo>
                <a:close/>
              </a:path>
            </a:pathLst>
          </a:custGeom>
          <a:ln w="25399">
            <a:solidFill>
              <a:srgbClr val="008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35"/>
          <p:cNvSpPr txBox="1"/>
          <p:nvPr/>
        </p:nvSpPr>
        <p:spPr>
          <a:xfrm>
            <a:off x="1530864" y="4956236"/>
            <a:ext cx="2107177" cy="1138131"/>
          </a:xfrm>
          <a:prstGeom prst="rect">
            <a:avLst/>
          </a:prstGeom>
        </p:spPr>
        <p:txBody>
          <a:bodyPr vert="horz" wrap="square" lIns="0" tIns="104139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819"/>
              </a:spcBef>
            </a:pPr>
            <a:r>
              <a:rPr sz="1800" b="1" spc="175" dirty="0">
                <a:solidFill>
                  <a:srgbClr val="00AB96"/>
                </a:solidFill>
                <a:latin typeface="Tahoma"/>
                <a:cs typeface="Tahoma"/>
              </a:rPr>
              <a:t>5</a:t>
            </a:r>
            <a:r>
              <a:rPr sz="1800" b="1" spc="-145" dirty="0">
                <a:solidFill>
                  <a:srgbClr val="00AB96"/>
                </a:solidFill>
                <a:latin typeface="Tahoma"/>
                <a:cs typeface="Tahoma"/>
              </a:rPr>
              <a:t> </a:t>
            </a:r>
            <a:r>
              <a:rPr sz="1800" b="1" spc="100" dirty="0">
                <a:solidFill>
                  <a:srgbClr val="00AB96"/>
                </a:solidFill>
                <a:latin typeface="Tahoma"/>
                <a:cs typeface="Tahoma"/>
              </a:rPr>
              <a:t>э</a:t>
            </a:r>
            <a:r>
              <a:rPr sz="1800" b="1" spc="120" dirty="0">
                <a:solidFill>
                  <a:srgbClr val="00AB96"/>
                </a:solidFill>
                <a:latin typeface="Tahoma"/>
                <a:cs typeface="Tahoma"/>
              </a:rPr>
              <a:t>т</a:t>
            </a:r>
            <a:r>
              <a:rPr sz="1800" b="1" spc="75" dirty="0">
                <a:solidFill>
                  <a:srgbClr val="00AB96"/>
                </a:solidFill>
                <a:latin typeface="Tahoma"/>
                <a:cs typeface="Tahoma"/>
              </a:rPr>
              <a:t>ап</a:t>
            </a:r>
            <a:endParaRPr sz="1800" b="1" dirty="0">
              <a:latin typeface="Tahoma"/>
              <a:cs typeface="Tahoma"/>
            </a:endParaRPr>
          </a:p>
          <a:p>
            <a:pPr marL="12700" marR="5080" algn="ctr">
              <a:lnSpc>
                <a:spcPct val="111100"/>
              </a:lnSpc>
              <a:spcBef>
                <a:spcPts val="320"/>
              </a:spcBef>
            </a:pPr>
            <a:r>
              <a:rPr sz="1400" b="1" spc="45" dirty="0">
                <a:latin typeface="Tahoma"/>
                <a:cs typeface="Tahoma"/>
              </a:rPr>
              <a:t>Направление </a:t>
            </a:r>
            <a:r>
              <a:rPr sz="1400" b="1" spc="50" dirty="0">
                <a:latin typeface="Tahoma"/>
                <a:cs typeface="Tahoma"/>
              </a:rPr>
              <a:t> </a:t>
            </a:r>
            <a:r>
              <a:rPr sz="1400" b="1" spc="45" dirty="0">
                <a:latin typeface="Tahoma"/>
                <a:cs typeface="Tahoma"/>
              </a:rPr>
              <a:t>проекта решения </a:t>
            </a:r>
            <a:r>
              <a:rPr sz="1400" b="1" spc="-360" dirty="0">
                <a:latin typeface="Tahoma"/>
                <a:cs typeface="Tahoma"/>
              </a:rPr>
              <a:t> </a:t>
            </a:r>
            <a:r>
              <a:rPr sz="1400" b="1" spc="40" dirty="0">
                <a:latin typeface="Tahoma"/>
                <a:cs typeface="Tahoma"/>
              </a:rPr>
              <a:t>правообладателю</a:t>
            </a:r>
            <a:endParaRPr sz="1400" b="1" dirty="0">
              <a:latin typeface="Tahoma"/>
              <a:cs typeface="Tahoma"/>
            </a:endParaRPr>
          </a:p>
        </p:txBody>
      </p:sp>
      <p:sp>
        <p:nvSpPr>
          <p:cNvPr id="63" name="object 37"/>
          <p:cNvSpPr/>
          <p:nvPr/>
        </p:nvSpPr>
        <p:spPr>
          <a:xfrm>
            <a:off x="709541" y="4945439"/>
            <a:ext cx="3309758" cy="1462523"/>
          </a:xfrm>
          <a:custGeom>
            <a:avLst/>
            <a:gdLst/>
            <a:ahLst/>
            <a:cxnLst/>
            <a:rect l="l" t="t" r="r" b="b"/>
            <a:pathLst>
              <a:path w="3115945" h="1122679">
                <a:moveTo>
                  <a:pt x="561263" y="0"/>
                </a:moveTo>
                <a:lnTo>
                  <a:pt x="512835" y="2060"/>
                </a:lnTo>
                <a:lnTo>
                  <a:pt x="465550" y="8128"/>
                </a:lnTo>
                <a:lnTo>
                  <a:pt x="419578" y="18035"/>
                </a:lnTo>
                <a:lnTo>
                  <a:pt x="375087" y="31614"/>
                </a:lnTo>
                <a:lnTo>
                  <a:pt x="332246" y="48695"/>
                </a:lnTo>
                <a:lnTo>
                  <a:pt x="291222" y="69111"/>
                </a:lnTo>
                <a:lnTo>
                  <a:pt x="252185" y="92692"/>
                </a:lnTo>
                <a:lnTo>
                  <a:pt x="215303" y="119270"/>
                </a:lnTo>
                <a:lnTo>
                  <a:pt x="180744" y="148677"/>
                </a:lnTo>
                <a:lnTo>
                  <a:pt x="148677" y="180744"/>
                </a:lnTo>
                <a:lnTo>
                  <a:pt x="119270" y="215303"/>
                </a:lnTo>
                <a:lnTo>
                  <a:pt x="92692" y="252185"/>
                </a:lnTo>
                <a:lnTo>
                  <a:pt x="69111" y="291222"/>
                </a:lnTo>
                <a:lnTo>
                  <a:pt x="48695" y="332246"/>
                </a:lnTo>
                <a:lnTo>
                  <a:pt x="31614" y="375087"/>
                </a:lnTo>
                <a:lnTo>
                  <a:pt x="18035" y="419578"/>
                </a:lnTo>
                <a:lnTo>
                  <a:pt x="8128" y="465550"/>
                </a:lnTo>
                <a:lnTo>
                  <a:pt x="2060" y="512835"/>
                </a:lnTo>
                <a:lnTo>
                  <a:pt x="0" y="561263"/>
                </a:lnTo>
                <a:lnTo>
                  <a:pt x="2060" y="609692"/>
                </a:lnTo>
                <a:lnTo>
                  <a:pt x="8128" y="656977"/>
                </a:lnTo>
                <a:lnTo>
                  <a:pt x="18035" y="702949"/>
                </a:lnTo>
                <a:lnTo>
                  <a:pt x="31614" y="747441"/>
                </a:lnTo>
                <a:lnTo>
                  <a:pt x="48695" y="790283"/>
                </a:lnTo>
                <a:lnTo>
                  <a:pt x="69111" y="831307"/>
                </a:lnTo>
                <a:lnTo>
                  <a:pt x="92692" y="870345"/>
                </a:lnTo>
                <a:lnTo>
                  <a:pt x="119270" y="907229"/>
                </a:lnTo>
                <a:lnTo>
                  <a:pt x="148677" y="941789"/>
                </a:lnTo>
                <a:lnTo>
                  <a:pt x="180744" y="973857"/>
                </a:lnTo>
                <a:lnTo>
                  <a:pt x="215303" y="1003265"/>
                </a:lnTo>
                <a:lnTo>
                  <a:pt x="252185" y="1029844"/>
                </a:lnTo>
                <a:lnTo>
                  <a:pt x="291222" y="1053426"/>
                </a:lnTo>
                <a:lnTo>
                  <a:pt x="332246" y="1073842"/>
                </a:lnTo>
                <a:lnTo>
                  <a:pt x="375087" y="1090924"/>
                </a:lnTo>
                <a:lnTo>
                  <a:pt x="419578" y="1104503"/>
                </a:lnTo>
                <a:lnTo>
                  <a:pt x="465550" y="1114411"/>
                </a:lnTo>
                <a:lnTo>
                  <a:pt x="512835" y="1120480"/>
                </a:lnTo>
                <a:lnTo>
                  <a:pt x="561263" y="1122540"/>
                </a:lnTo>
                <a:lnTo>
                  <a:pt x="2554325" y="1122540"/>
                </a:lnTo>
                <a:lnTo>
                  <a:pt x="2602754" y="1120480"/>
                </a:lnTo>
                <a:lnTo>
                  <a:pt x="2650038" y="1114411"/>
                </a:lnTo>
                <a:lnTo>
                  <a:pt x="2696010" y="1104503"/>
                </a:lnTo>
                <a:lnTo>
                  <a:pt x="2740501" y="1090924"/>
                </a:lnTo>
                <a:lnTo>
                  <a:pt x="2783343" y="1073842"/>
                </a:lnTo>
                <a:lnTo>
                  <a:pt x="2824366" y="1053426"/>
                </a:lnTo>
                <a:lnTo>
                  <a:pt x="2863403" y="1029844"/>
                </a:lnTo>
                <a:lnTo>
                  <a:pt x="2900286" y="1003265"/>
                </a:lnTo>
                <a:lnTo>
                  <a:pt x="2934845" y="973857"/>
                </a:lnTo>
                <a:lnTo>
                  <a:pt x="2966912" y="941789"/>
                </a:lnTo>
                <a:lnTo>
                  <a:pt x="2996319" y="907229"/>
                </a:lnTo>
                <a:lnTo>
                  <a:pt x="3022897" y="870345"/>
                </a:lnTo>
                <a:lnTo>
                  <a:pt x="3046478" y="831307"/>
                </a:lnTo>
                <a:lnTo>
                  <a:pt x="3066893" y="790283"/>
                </a:lnTo>
                <a:lnTo>
                  <a:pt x="3083974" y="747441"/>
                </a:lnTo>
                <a:lnTo>
                  <a:pt x="3097553" y="702949"/>
                </a:lnTo>
                <a:lnTo>
                  <a:pt x="3107461" y="656977"/>
                </a:lnTo>
                <a:lnTo>
                  <a:pt x="3113529" y="609692"/>
                </a:lnTo>
                <a:lnTo>
                  <a:pt x="3115589" y="561263"/>
                </a:lnTo>
                <a:lnTo>
                  <a:pt x="3113529" y="512835"/>
                </a:lnTo>
                <a:lnTo>
                  <a:pt x="3107461" y="465550"/>
                </a:lnTo>
                <a:lnTo>
                  <a:pt x="3097553" y="419578"/>
                </a:lnTo>
                <a:lnTo>
                  <a:pt x="3083974" y="375087"/>
                </a:lnTo>
                <a:lnTo>
                  <a:pt x="3066893" y="332246"/>
                </a:lnTo>
                <a:lnTo>
                  <a:pt x="3046478" y="291222"/>
                </a:lnTo>
                <a:lnTo>
                  <a:pt x="3022897" y="252185"/>
                </a:lnTo>
                <a:lnTo>
                  <a:pt x="2996319" y="215303"/>
                </a:lnTo>
                <a:lnTo>
                  <a:pt x="2966912" y="180744"/>
                </a:lnTo>
                <a:lnTo>
                  <a:pt x="2934845" y="148677"/>
                </a:lnTo>
                <a:lnTo>
                  <a:pt x="2900286" y="119270"/>
                </a:lnTo>
                <a:lnTo>
                  <a:pt x="2863403" y="92692"/>
                </a:lnTo>
                <a:lnTo>
                  <a:pt x="2824366" y="69111"/>
                </a:lnTo>
                <a:lnTo>
                  <a:pt x="2783343" y="48695"/>
                </a:lnTo>
                <a:lnTo>
                  <a:pt x="2740501" y="31614"/>
                </a:lnTo>
                <a:lnTo>
                  <a:pt x="2696010" y="18035"/>
                </a:lnTo>
                <a:lnTo>
                  <a:pt x="2650038" y="8128"/>
                </a:lnTo>
                <a:lnTo>
                  <a:pt x="2602754" y="2060"/>
                </a:lnTo>
                <a:lnTo>
                  <a:pt x="2554325" y="0"/>
                </a:lnTo>
                <a:lnTo>
                  <a:pt x="561263" y="0"/>
                </a:lnTo>
                <a:close/>
              </a:path>
            </a:pathLst>
          </a:custGeom>
          <a:ln w="25399">
            <a:solidFill>
              <a:srgbClr val="00AB9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40"/>
          <p:cNvSpPr txBox="1"/>
          <p:nvPr/>
        </p:nvSpPr>
        <p:spPr>
          <a:xfrm>
            <a:off x="5217345" y="4931893"/>
            <a:ext cx="2305946" cy="1379223"/>
          </a:xfrm>
          <a:prstGeom prst="rect">
            <a:avLst/>
          </a:prstGeom>
        </p:spPr>
        <p:txBody>
          <a:bodyPr vert="horz" wrap="square" lIns="0" tIns="104139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819"/>
              </a:spcBef>
            </a:pPr>
            <a:r>
              <a:rPr sz="1800" b="1" spc="204" dirty="0">
                <a:solidFill>
                  <a:srgbClr val="4FA730"/>
                </a:solidFill>
                <a:latin typeface="Tahoma"/>
                <a:cs typeface="Tahoma"/>
              </a:rPr>
              <a:t>6</a:t>
            </a:r>
            <a:r>
              <a:rPr sz="1800" b="1" spc="-150" dirty="0">
                <a:solidFill>
                  <a:srgbClr val="4FA730"/>
                </a:solidFill>
                <a:latin typeface="Tahoma"/>
                <a:cs typeface="Tahoma"/>
              </a:rPr>
              <a:t> </a:t>
            </a:r>
            <a:r>
              <a:rPr sz="1800" b="1" spc="100" dirty="0">
                <a:solidFill>
                  <a:srgbClr val="4FA730"/>
                </a:solidFill>
                <a:latin typeface="Tahoma"/>
                <a:cs typeface="Tahoma"/>
              </a:rPr>
              <a:t>э</a:t>
            </a:r>
            <a:r>
              <a:rPr sz="1800" b="1" spc="120" dirty="0">
                <a:solidFill>
                  <a:srgbClr val="4FA730"/>
                </a:solidFill>
                <a:latin typeface="Tahoma"/>
                <a:cs typeface="Tahoma"/>
              </a:rPr>
              <a:t>т</a:t>
            </a:r>
            <a:r>
              <a:rPr sz="1800" b="1" spc="75" dirty="0">
                <a:solidFill>
                  <a:srgbClr val="4FA730"/>
                </a:solidFill>
                <a:latin typeface="Tahoma"/>
                <a:cs typeface="Tahoma"/>
              </a:rPr>
              <a:t>ап</a:t>
            </a:r>
            <a:endParaRPr sz="1800" b="1" dirty="0">
              <a:latin typeface="Tahoma"/>
              <a:cs typeface="Tahoma"/>
            </a:endParaRPr>
          </a:p>
          <a:p>
            <a:pPr marL="12700" algn="ctr">
              <a:lnSpc>
                <a:spcPct val="100000"/>
              </a:lnSpc>
              <a:spcBef>
                <a:spcPts val="480"/>
              </a:spcBef>
            </a:pPr>
            <a:r>
              <a:rPr sz="1400" b="1" spc="40" dirty="0">
                <a:latin typeface="Tahoma"/>
                <a:cs typeface="Tahoma"/>
              </a:rPr>
              <a:t>Принятие</a:t>
            </a:r>
            <a:r>
              <a:rPr sz="1400" b="1" spc="-75" dirty="0">
                <a:latin typeface="Tahoma"/>
                <a:cs typeface="Tahoma"/>
              </a:rPr>
              <a:t> </a:t>
            </a:r>
            <a:r>
              <a:rPr sz="1400" b="1" spc="45" dirty="0">
                <a:latin typeface="Tahoma"/>
                <a:cs typeface="Tahoma"/>
              </a:rPr>
              <a:t>решения</a:t>
            </a:r>
            <a:endParaRPr sz="1400" b="1" dirty="0">
              <a:latin typeface="Tahoma"/>
              <a:cs typeface="Tahoma"/>
            </a:endParaRPr>
          </a:p>
          <a:p>
            <a:pPr marL="12700" marR="5080" algn="ctr">
              <a:lnSpc>
                <a:spcPct val="111100"/>
              </a:lnSpc>
            </a:pPr>
            <a:r>
              <a:rPr sz="1400" b="1" spc="20" dirty="0">
                <a:latin typeface="Tahoma"/>
                <a:cs typeface="Tahoma"/>
              </a:rPr>
              <a:t>о</a:t>
            </a:r>
            <a:r>
              <a:rPr sz="1400" b="1" spc="-80" dirty="0">
                <a:latin typeface="Tahoma"/>
                <a:cs typeface="Tahoma"/>
              </a:rPr>
              <a:t> </a:t>
            </a:r>
            <a:r>
              <a:rPr sz="1400" b="1" spc="-15" dirty="0">
                <a:latin typeface="Tahoma"/>
                <a:cs typeface="Tahoma"/>
              </a:rPr>
              <a:t>выявлени</a:t>
            </a:r>
            <a:r>
              <a:rPr sz="1400" b="1" dirty="0">
                <a:latin typeface="Tahoma"/>
                <a:cs typeface="Tahoma"/>
              </a:rPr>
              <a:t>и</a:t>
            </a:r>
            <a:r>
              <a:rPr sz="1400" b="1" spc="-85" dirty="0">
                <a:latin typeface="Tahoma"/>
                <a:cs typeface="Tahoma"/>
              </a:rPr>
              <a:t> </a:t>
            </a:r>
            <a:r>
              <a:rPr lang="en-US" sz="1400" b="1" spc="-85" dirty="0" smtClean="0">
                <a:latin typeface="Tahoma"/>
                <a:cs typeface="Tahoma"/>
              </a:rPr>
              <a:t>                       </a:t>
            </a:r>
            <a:r>
              <a:rPr sz="1400" b="1" spc="-5" dirty="0" smtClean="0">
                <a:latin typeface="Tahoma"/>
                <a:cs typeface="Tahoma"/>
              </a:rPr>
              <a:t>и</a:t>
            </a:r>
            <a:r>
              <a:rPr sz="1400" b="1" spc="-80" dirty="0" smtClean="0">
                <a:latin typeface="Tahoma"/>
                <a:cs typeface="Tahoma"/>
              </a:rPr>
              <a:t> </a:t>
            </a:r>
            <a:r>
              <a:rPr sz="1400" b="1" spc="-15" dirty="0" err="1">
                <a:latin typeface="Tahoma"/>
                <a:cs typeface="Tahoma"/>
              </a:rPr>
              <a:t>направление</a:t>
            </a:r>
            <a:r>
              <a:rPr sz="1400" b="1" spc="-15" dirty="0">
                <a:latin typeface="Tahoma"/>
                <a:cs typeface="Tahoma"/>
              </a:rPr>
              <a:t>  </a:t>
            </a:r>
            <a:r>
              <a:rPr lang="en-US" sz="1400" b="1" spc="-15" dirty="0" smtClean="0">
                <a:latin typeface="Tahoma"/>
                <a:cs typeface="Tahoma"/>
              </a:rPr>
              <a:t>           </a:t>
            </a:r>
            <a:r>
              <a:rPr sz="1400" b="1" spc="45" dirty="0" err="1" smtClean="0">
                <a:latin typeface="Tahoma"/>
                <a:cs typeface="Tahoma"/>
              </a:rPr>
              <a:t>его</a:t>
            </a:r>
            <a:r>
              <a:rPr sz="1400" b="1" spc="-45" dirty="0" smtClean="0">
                <a:latin typeface="Tahoma"/>
                <a:cs typeface="Tahoma"/>
              </a:rPr>
              <a:t> </a:t>
            </a:r>
            <a:r>
              <a:rPr sz="1400" b="1" spc="40" dirty="0">
                <a:latin typeface="Tahoma"/>
                <a:cs typeface="Tahoma"/>
              </a:rPr>
              <a:t>в</a:t>
            </a:r>
            <a:r>
              <a:rPr sz="1400" b="1" spc="-45" dirty="0">
                <a:latin typeface="Tahoma"/>
                <a:cs typeface="Tahoma"/>
              </a:rPr>
              <a:t> </a:t>
            </a:r>
            <a:r>
              <a:rPr sz="1400" b="1" spc="75" dirty="0">
                <a:latin typeface="Tahoma"/>
                <a:cs typeface="Tahoma"/>
              </a:rPr>
              <a:t>Росреестр</a:t>
            </a:r>
            <a:endParaRPr sz="1400" b="1" dirty="0">
              <a:latin typeface="Tahoma"/>
              <a:cs typeface="Tahoma"/>
            </a:endParaRPr>
          </a:p>
        </p:txBody>
      </p:sp>
      <p:grpSp>
        <p:nvGrpSpPr>
          <p:cNvPr id="67" name="object 41"/>
          <p:cNvGrpSpPr/>
          <p:nvPr/>
        </p:nvGrpSpPr>
        <p:grpSpPr>
          <a:xfrm>
            <a:off x="4037605" y="4958986"/>
            <a:ext cx="3619117" cy="1435431"/>
            <a:chOff x="3572506" y="6140382"/>
            <a:chExt cx="3399002" cy="1122680"/>
          </a:xfrm>
        </p:grpSpPr>
        <p:sp>
          <p:nvSpPr>
            <p:cNvPr id="68" name="object 42"/>
            <p:cNvSpPr/>
            <p:nvPr/>
          </p:nvSpPr>
          <p:spPr>
            <a:xfrm>
              <a:off x="3856198" y="6140382"/>
              <a:ext cx="3115310" cy="1122680"/>
            </a:xfrm>
            <a:custGeom>
              <a:avLst/>
              <a:gdLst/>
              <a:ahLst/>
              <a:cxnLst/>
              <a:rect l="l" t="t" r="r" b="b"/>
              <a:pathLst>
                <a:path w="3115309" h="1122679">
                  <a:moveTo>
                    <a:pt x="561263" y="0"/>
                  </a:moveTo>
                  <a:lnTo>
                    <a:pt x="512835" y="2060"/>
                  </a:lnTo>
                  <a:lnTo>
                    <a:pt x="465550" y="8128"/>
                  </a:lnTo>
                  <a:lnTo>
                    <a:pt x="419578" y="18035"/>
                  </a:lnTo>
                  <a:lnTo>
                    <a:pt x="375087" y="31614"/>
                  </a:lnTo>
                  <a:lnTo>
                    <a:pt x="332246" y="48695"/>
                  </a:lnTo>
                  <a:lnTo>
                    <a:pt x="291222" y="69111"/>
                  </a:lnTo>
                  <a:lnTo>
                    <a:pt x="252185" y="92692"/>
                  </a:lnTo>
                  <a:lnTo>
                    <a:pt x="215303" y="119270"/>
                  </a:lnTo>
                  <a:lnTo>
                    <a:pt x="180744" y="148677"/>
                  </a:lnTo>
                  <a:lnTo>
                    <a:pt x="148677" y="180744"/>
                  </a:lnTo>
                  <a:lnTo>
                    <a:pt x="119270" y="215303"/>
                  </a:lnTo>
                  <a:lnTo>
                    <a:pt x="92692" y="252185"/>
                  </a:lnTo>
                  <a:lnTo>
                    <a:pt x="69111" y="291222"/>
                  </a:lnTo>
                  <a:lnTo>
                    <a:pt x="48695" y="332246"/>
                  </a:lnTo>
                  <a:lnTo>
                    <a:pt x="31614" y="375087"/>
                  </a:lnTo>
                  <a:lnTo>
                    <a:pt x="18035" y="419578"/>
                  </a:lnTo>
                  <a:lnTo>
                    <a:pt x="8128" y="465550"/>
                  </a:lnTo>
                  <a:lnTo>
                    <a:pt x="2060" y="512835"/>
                  </a:lnTo>
                  <a:lnTo>
                    <a:pt x="0" y="561263"/>
                  </a:lnTo>
                  <a:lnTo>
                    <a:pt x="2060" y="609692"/>
                  </a:lnTo>
                  <a:lnTo>
                    <a:pt x="8128" y="656977"/>
                  </a:lnTo>
                  <a:lnTo>
                    <a:pt x="18035" y="702949"/>
                  </a:lnTo>
                  <a:lnTo>
                    <a:pt x="31614" y="747441"/>
                  </a:lnTo>
                  <a:lnTo>
                    <a:pt x="48695" y="790283"/>
                  </a:lnTo>
                  <a:lnTo>
                    <a:pt x="69111" y="831307"/>
                  </a:lnTo>
                  <a:lnTo>
                    <a:pt x="92692" y="870345"/>
                  </a:lnTo>
                  <a:lnTo>
                    <a:pt x="119270" y="907229"/>
                  </a:lnTo>
                  <a:lnTo>
                    <a:pt x="148677" y="941789"/>
                  </a:lnTo>
                  <a:lnTo>
                    <a:pt x="180744" y="973857"/>
                  </a:lnTo>
                  <a:lnTo>
                    <a:pt x="215303" y="1003265"/>
                  </a:lnTo>
                  <a:lnTo>
                    <a:pt x="252185" y="1029844"/>
                  </a:lnTo>
                  <a:lnTo>
                    <a:pt x="291222" y="1053426"/>
                  </a:lnTo>
                  <a:lnTo>
                    <a:pt x="332246" y="1073842"/>
                  </a:lnTo>
                  <a:lnTo>
                    <a:pt x="375087" y="1090924"/>
                  </a:lnTo>
                  <a:lnTo>
                    <a:pt x="419578" y="1104503"/>
                  </a:lnTo>
                  <a:lnTo>
                    <a:pt x="465550" y="1114411"/>
                  </a:lnTo>
                  <a:lnTo>
                    <a:pt x="512835" y="1120480"/>
                  </a:lnTo>
                  <a:lnTo>
                    <a:pt x="561263" y="1122540"/>
                  </a:lnTo>
                  <a:lnTo>
                    <a:pt x="2553830" y="1122540"/>
                  </a:lnTo>
                  <a:lnTo>
                    <a:pt x="2602258" y="1120480"/>
                  </a:lnTo>
                  <a:lnTo>
                    <a:pt x="2649543" y="1114411"/>
                  </a:lnTo>
                  <a:lnTo>
                    <a:pt x="2695516" y="1104503"/>
                  </a:lnTo>
                  <a:lnTo>
                    <a:pt x="2740007" y="1090924"/>
                  </a:lnTo>
                  <a:lnTo>
                    <a:pt x="2782849" y="1073842"/>
                  </a:lnTo>
                  <a:lnTo>
                    <a:pt x="2823874" y="1053426"/>
                  </a:lnTo>
                  <a:lnTo>
                    <a:pt x="2862912" y="1029844"/>
                  </a:lnTo>
                  <a:lnTo>
                    <a:pt x="2899795" y="1003265"/>
                  </a:lnTo>
                  <a:lnTo>
                    <a:pt x="2934355" y="973857"/>
                  </a:lnTo>
                  <a:lnTo>
                    <a:pt x="2966423" y="941789"/>
                  </a:lnTo>
                  <a:lnTo>
                    <a:pt x="2995831" y="907229"/>
                  </a:lnTo>
                  <a:lnTo>
                    <a:pt x="3022410" y="870345"/>
                  </a:lnTo>
                  <a:lnTo>
                    <a:pt x="3045992" y="831307"/>
                  </a:lnTo>
                  <a:lnTo>
                    <a:pt x="3066408" y="790283"/>
                  </a:lnTo>
                  <a:lnTo>
                    <a:pt x="3083490" y="747441"/>
                  </a:lnTo>
                  <a:lnTo>
                    <a:pt x="3097070" y="702949"/>
                  </a:lnTo>
                  <a:lnTo>
                    <a:pt x="3106978" y="656977"/>
                  </a:lnTo>
                  <a:lnTo>
                    <a:pt x="3113046" y="609692"/>
                  </a:lnTo>
                  <a:lnTo>
                    <a:pt x="3115106" y="561263"/>
                  </a:lnTo>
                  <a:lnTo>
                    <a:pt x="3113046" y="512835"/>
                  </a:lnTo>
                  <a:lnTo>
                    <a:pt x="3106978" y="465550"/>
                  </a:lnTo>
                  <a:lnTo>
                    <a:pt x="3097070" y="419578"/>
                  </a:lnTo>
                  <a:lnTo>
                    <a:pt x="3083490" y="375087"/>
                  </a:lnTo>
                  <a:lnTo>
                    <a:pt x="3066408" y="332246"/>
                  </a:lnTo>
                  <a:lnTo>
                    <a:pt x="3045992" y="291222"/>
                  </a:lnTo>
                  <a:lnTo>
                    <a:pt x="3022410" y="252185"/>
                  </a:lnTo>
                  <a:lnTo>
                    <a:pt x="2995831" y="215303"/>
                  </a:lnTo>
                  <a:lnTo>
                    <a:pt x="2966423" y="180744"/>
                  </a:lnTo>
                  <a:lnTo>
                    <a:pt x="2934355" y="148677"/>
                  </a:lnTo>
                  <a:lnTo>
                    <a:pt x="2899795" y="119270"/>
                  </a:lnTo>
                  <a:lnTo>
                    <a:pt x="2862912" y="92692"/>
                  </a:lnTo>
                  <a:lnTo>
                    <a:pt x="2823874" y="69111"/>
                  </a:lnTo>
                  <a:lnTo>
                    <a:pt x="2782849" y="48695"/>
                  </a:lnTo>
                  <a:lnTo>
                    <a:pt x="2740007" y="31614"/>
                  </a:lnTo>
                  <a:lnTo>
                    <a:pt x="2695516" y="18035"/>
                  </a:lnTo>
                  <a:lnTo>
                    <a:pt x="2649543" y="8128"/>
                  </a:lnTo>
                  <a:lnTo>
                    <a:pt x="2602258" y="2060"/>
                  </a:lnTo>
                  <a:lnTo>
                    <a:pt x="2553830" y="0"/>
                  </a:lnTo>
                  <a:lnTo>
                    <a:pt x="561263" y="0"/>
                  </a:lnTo>
                  <a:close/>
                </a:path>
              </a:pathLst>
            </a:custGeom>
            <a:ln w="25399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43"/>
            <p:cNvSpPr/>
            <p:nvPr/>
          </p:nvSpPr>
          <p:spPr>
            <a:xfrm>
              <a:off x="3572506" y="6732351"/>
              <a:ext cx="270510" cy="0"/>
            </a:xfrm>
            <a:custGeom>
              <a:avLst/>
              <a:gdLst/>
              <a:ahLst/>
              <a:cxnLst/>
              <a:rect l="l" t="t" r="r" b="b"/>
              <a:pathLst>
                <a:path w="270510">
                  <a:moveTo>
                    <a:pt x="0" y="0"/>
                  </a:moveTo>
                  <a:lnTo>
                    <a:pt x="270497" y="0"/>
                  </a:lnTo>
                </a:path>
              </a:pathLst>
            </a:custGeom>
            <a:ln w="25400">
              <a:solidFill>
                <a:srgbClr val="BFE2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44"/>
            <p:cNvSpPr/>
            <p:nvPr/>
          </p:nvSpPr>
          <p:spPr>
            <a:xfrm>
              <a:off x="4009838" y="6324726"/>
              <a:ext cx="636270" cy="621030"/>
            </a:xfrm>
            <a:custGeom>
              <a:avLst/>
              <a:gdLst/>
              <a:ahLst/>
              <a:cxnLst/>
              <a:rect l="l" t="t" r="r" b="b"/>
              <a:pathLst>
                <a:path w="636270" h="621029">
                  <a:moveTo>
                    <a:pt x="510810" y="201930"/>
                  </a:moveTo>
                  <a:lnTo>
                    <a:pt x="23803" y="201930"/>
                  </a:lnTo>
                  <a:lnTo>
                    <a:pt x="11200" y="203200"/>
                  </a:lnTo>
                  <a:lnTo>
                    <a:pt x="4013" y="205740"/>
                  </a:lnTo>
                  <a:lnTo>
                    <a:pt x="775" y="213360"/>
                  </a:lnTo>
                  <a:lnTo>
                    <a:pt x="92" y="224790"/>
                  </a:lnTo>
                  <a:lnTo>
                    <a:pt x="0" y="365760"/>
                  </a:lnTo>
                  <a:lnTo>
                    <a:pt x="126" y="607060"/>
                  </a:lnTo>
                  <a:lnTo>
                    <a:pt x="332" y="613410"/>
                  </a:lnTo>
                  <a:lnTo>
                    <a:pt x="2420" y="619760"/>
                  </a:lnTo>
                  <a:lnTo>
                    <a:pt x="7951" y="621030"/>
                  </a:lnTo>
                  <a:lnTo>
                    <a:pt x="613410" y="621030"/>
                  </a:lnTo>
                  <a:lnTo>
                    <a:pt x="624764" y="618490"/>
                  </a:lnTo>
                  <a:lnTo>
                    <a:pt x="631942" y="612140"/>
                  </a:lnTo>
                  <a:lnTo>
                    <a:pt x="632852" y="607060"/>
                  </a:lnTo>
                  <a:lnTo>
                    <a:pt x="44403" y="607060"/>
                  </a:lnTo>
                  <a:lnTo>
                    <a:pt x="31684" y="604520"/>
                  </a:lnTo>
                  <a:lnTo>
                    <a:pt x="23686" y="598170"/>
                  </a:lnTo>
                  <a:lnTo>
                    <a:pt x="20864" y="588010"/>
                  </a:lnTo>
                  <a:lnTo>
                    <a:pt x="23676" y="575310"/>
                  </a:lnTo>
                  <a:lnTo>
                    <a:pt x="25315" y="571500"/>
                  </a:lnTo>
                  <a:lnTo>
                    <a:pt x="28236" y="570230"/>
                  </a:lnTo>
                  <a:lnTo>
                    <a:pt x="38142" y="568960"/>
                  </a:lnTo>
                  <a:lnTo>
                    <a:pt x="86246" y="568960"/>
                  </a:lnTo>
                  <a:lnTo>
                    <a:pt x="86240" y="549910"/>
                  </a:lnTo>
                  <a:lnTo>
                    <a:pt x="36442" y="549910"/>
                  </a:lnTo>
                  <a:lnTo>
                    <a:pt x="27956" y="547370"/>
                  </a:lnTo>
                  <a:lnTo>
                    <a:pt x="21390" y="546100"/>
                  </a:lnTo>
                  <a:lnTo>
                    <a:pt x="22965" y="538480"/>
                  </a:lnTo>
                  <a:lnTo>
                    <a:pt x="22978" y="346710"/>
                  </a:lnTo>
                  <a:lnTo>
                    <a:pt x="22635" y="321310"/>
                  </a:lnTo>
                  <a:lnTo>
                    <a:pt x="22355" y="308610"/>
                  </a:lnTo>
                  <a:lnTo>
                    <a:pt x="26623" y="304800"/>
                  </a:lnTo>
                  <a:lnTo>
                    <a:pt x="636160" y="304800"/>
                  </a:lnTo>
                  <a:lnTo>
                    <a:pt x="636222" y="280670"/>
                  </a:lnTo>
                  <a:lnTo>
                    <a:pt x="103445" y="280670"/>
                  </a:lnTo>
                  <a:lnTo>
                    <a:pt x="102581" y="279400"/>
                  </a:lnTo>
                  <a:lnTo>
                    <a:pt x="33192" y="279400"/>
                  </a:lnTo>
                  <a:lnTo>
                    <a:pt x="25227" y="276860"/>
                  </a:lnTo>
                  <a:lnTo>
                    <a:pt x="22941" y="269240"/>
                  </a:lnTo>
                  <a:lnTo>
                    <a:pt x="22952" y="233680"/>
                  </a:lnTo>
                  <a:lnTo>
                    <a:pt x="25489" y="224790"/>
                  </a:lnTo>
                  <a:lnTo>
                    <a:pt x="34051" y="222250"/>
                  </a:lnTo>
                  <a:lnTo>
                    <a:pt x="102680" y="222250"/>
                  </a:lnTo>
                  <a:lnTo>
                    <a:pt x="103775" y="220980"/>
                  </a:lnTo>
                  <a:lnTo>
                    <a:pt x="636079" y="220980"/>
                  </a:lnTo>
                  <a:lnTo>
                    <a:pt x="636058" y="217170"/>
                  </a:lnTo>
                  <a:lnTo>
                    <a:pt x="632318" y="207010"/>
                  </a:lnTo>
                  <a:lnTo>
                    <a:pt x="623726" y="203200"/>
                  </a:lnTo>
                  <a:lnTo>
                    <a:pt x="516906" y="203200"/>
                  </a:lnTo>
                  <a:lnTo>
                    <a:pt x="510810" y="201930"/>
                  </a:lnTo>
                  <a:close/>
                </a:path>
                <a:path w="636270" h="621029">
                  <a:moveTo>
                    <a:pt x="86246" y="568960"/>
                  </a:moveTo>
                  <a:lnTo>
                    <a:pt x="58150" y="568960"/>
                  </a:lnTo>
                  <a:lnTo>
                    <a:pt x="63216" y="572770"/>
                  </a:lnTo>
                  <a:lnTo>
                    <a:pt x="65765" y="577850"/>
                  </a:lnTo>
                  <a:lnTo>
                    <a:pt x="66310" y="585470"/>
                  </a:lnTo>
                  <a:lnTo>
                    <a:pt x="65645" y="598170"/>
                  </a:lnTo>
                  <a:lnTo>
                    <a:pt x="63205" y="604520"/>
                  </a:lnTo>
                  <a:lnTo>
                    <a:pt x="56841" y="607060"/>
                  </a:lnTo>
                  <a:lnTo>
                    <a:pt x="97661" y="607060"/>
                  </a:lnTo>
                  <a:lnTo>
                    <a:pt x="88919" y="604520"/>
                  </a:lnTo>
                  <a:lnTo>
                    <a:pt x="86326" y="595630"/>
                  </a:lnTo>
                  <a:lnTo>
                    <a:pt x="86246" y="568960"/>
                  </a:lnTo>
                  <a:close/>
                </a:path>
                <a:path w="636270" h="621029">
                  <a:moveTo>
                    <a:pt x="143987" y="377190"/>
                  </a:moveTo>
                  <a:lnTo>
                    <a:pt x="111725" y="377190"/>
                  </a:lnTo>
                  <a:lnTo>
                    <a:pt x="119269" y="379730"/>
                  </a:lnTo>
                  <a:lnTo>
                    <a:pt x="125595" y="386080"/>
                  </a:lnTo>
                  <a:lnTo>
                    <a:pt x="130047" y="393700"/>
                  </a:lnTo>
                  <a:lnTo>
                    <a:pt x="131969" y="403860"/>
                  </a:lnTo>
                  <a:lnTo>
                    <a:pt x="132072" y="407670"/>
                  </a:lnTo>
                  <a:lnTo>
                    <a:pt x="132197" y="443230"/>
                  </a:lnTo>
                  <a:lnTo>
                    <a:pt x="132083" y="567690"/>
                  </a:lnTo>
                  <a:lnTo>
                    <a:pt x="132454" y="593090"/>
                  </a:lnTo>
                  <a:lnTo>
                    <a:pt x="132668" y="603250"/>
                  </a:lnTo>
                  <a:lnTo>
                    <a:pt x="129213" y="607060"/>
                  </a:lnTo>
                  <a:lnTo>
                    <a:pt x="204202" y="607060"/>
                  </a:lnTo>
                  <a:lnTo>
                    <a:pt x="195688" y="604520"/>
                  </a:lnTo>
                  <a:lnTo>
                    <a:pt x="193618" y="595630"/>
                  </a:lnTo>
                  <a:lnTo>
                    <a:pt x="193612" y="548640"/>
                  </a:lnTo>
                  <a:lnTo>
                    <a:pt x="153851" y="548640"/>
                  </a:lnTo>
                  <a:lnTo>
                    <a:pt x="155223" y="541020"/>
                  </a:lnTo>
                  <a:lnTo>
                    <a:pt x="155107" y="472440"/>
                  </a:lnTo>
                  <a:lnTo>
                    <a:pt x="155202" y="435610"/>
                  </a:lnTo>
                  <a:lnTo>
                    <a:pt x="155106" y="424180"/>
                  </a:lnTo>
                  <a:lnTo>
                    <a:pt x="154865" y="415290"/>
                  </a:lnTo>
                  <a:lnTo>
                    <a:pt x="152937" y="400050"/>
                  </a:lnTo>
                  <a:lnTo>
                    <a:pt x="146774" y="381000"/>
                  </a:lnTo>
                  <a:lnTo>
                    <a:pt x="143987" y="377190"/>
                  </a:lnTo>
                  <a:close/>
                </a:path>
                <a:path w="636270" h="621029">
                  <a:moveTo>
                    <a:pt x="251155" y="379730"/>
                  </a:moveTo>
                  <a:lnTo>
                    <a:pt x="213986" y="379730"/>
                  </a:lnTo>
                  <a:lnTo>
                    <a:pt x="223244" y="381000"/>
                  </a:lnTo>
                  <a:lnTo>
                    <a:pt x="230416" y="386080"/>
                  </a:lnTo>
                  <a:lnTo>
                    <a:pt x="235060" y="394970"/>
                  </a:lnTo>
                  <a:lnTo>
                    <a:pt x="236731" y="406400"/>
                  </a:lnTo>
                  <a:lnTo>
                    <a:pt x="236778" y="433070"/>
                  </a:lnTo>
                  <a:lnTo>
                    <a:pt x="236901" y="567690"/>
                  </a:lnTo>
                  <a:lnTo>
                    <a:pt x="237024" y="603250"/>
                  </a:lnTo>
                  <a:lnTo>
                    <a:pt x="233595" y="607060"/>
                  </a:lnTo>
                  <a:lnTo>
                    <a:pt x="308105" y="607060"/>
                  </a:lnTo>
                  <a:lnTo>
                    <a:pt x="300585" y="604520"/>
                  </a:lnTo>
                  <a:lnTo>
                    <a:pt x="298426" y="596900"/>
                  </a:lnTo>
                  <a:lnTo>
                    <a:pt x="298334" y="548640"/>
                  </a:lnTo>
                  <a:lnTo>
                    <a:pt x="260912" y="548640"/>
                  </a:lnTo>
                  <a:lnTo>
                    <a:pt x="259985" y="543560"/>
                  </a:lnTo>
                  <a:lnTo>
                    <a:pt x="259875" y="538480"/>
                  </a:lnTo>
                  <a:lnTo>
                    <a:pt x="259833" y="419100"/>
                  </a:lnTo>
                  <a:lnTo>
                    <a:pt x="259574" y="411480"/>
                  </a:lnTo>
                  <a:lnTo>
                    <a:pt x="258721" y="402590"/>
                  </a:lnTo>
                  <a:lnTo>
                    <a:pt x="257250" y="394970"/>
                  </a:lnTo>
                  <a:lnTo>
                    <a:pt x="255134" y="387350"/>
                  </a:lnTo>
                  <a:lnTo>
                    <a:pt x="251155" y="379730"/>
                  </a:lnTo>
                  <a:close/>
                </a:path>
                <a:path w="636270" h="621029">
                  <a:moveTo>
                    <a:pt x="355389" y="378460"/>
                  </a:moveTo>
                  <a:lnTo>
                    <a:pt x="318253" y="378460"/>
                  </a:lnTo>
                  <a:lnTo>
                    <a:pt x="325713" y="379730"/>
                  </a:lnTo>
                  <a:lnTo>
                    <a:pt x="332728" y="384810"/>
                  </a:lnTo>
                  <a:lnTo>
                    <a:pt x="338223" y="392430"/>
                  </a:lnTo>
                  <a:lnTo>
                    <a:pt x="341125" y="400050"/>
                  </a:lnTo>
                  <a:lnTo>
                    <a:pt x="341481" y="402590"/>
                  </a:lnTo>
                  <a:lnTo>
                    <a:pt x="341549" y="406400"/>
                  </a:lnTo>
                  <a:lnTo>
                    <a:pt x="341429" y="516890"/>
                  </a:lnTo>
                  <a:lnTo>
                    <a:pt x="341665" y="590550"/>
                  </a:lnTo>
                  <a:lnTo>
                    <a:pt x="341126" y="596900"/>
                  </a:lnTo>
                  <a:lnTo>
                    <a:pt x="338481" y="603250"/>
                  </a:lnTo>
                  <a:lnTo>
                    <a:pt x="333097" y="607060"/>
                  </a:lnTo>
                  <a:lnTo>
                    <a:pt x="412032" y="607060"/>
                  </a:lnTo>
                  <a:lnTo>
                    <a:pt x="402866" y="604520"/>
                  </a:lnTo>
                  <a:lnTo>
                    <a:pt x="400311" y="595630"/>
                  </a:lnTo>
                  <a:lnTo>
                    <a:pt x="400280" y="548640"/>
                  </a:lnTo>
                  <a:lnTo>
                    <a:pt x="364430" y="548640"/>
                  </a:lnTo>
                  <a:lnTo>
                    <a:pt x="364429" y="411480"/>
                  </a:lnTo>
                  <a:lnTo>
                    <a:pt x="363979" y="402590"/>
                  </a:lnTo>
                  <a:lnTo>
                    <a:pt x="362233" y="393700"/>
                  </a:lnTo>
                  <a:lnTo>
                    <a:pt x="358982" y="384810"/>
                  </a:lnTo>
                  <a:lnTo>
                    <a:pt x="355389" y="378460"/>
                  </a:lnTo>
                  <a:close/>
                </a:path>
                <a:path w="636270" h="621029">
                  <a:moveTo>
                    <a:pt x="461483" y="379730"/>
                  </a:moveTo>
                  <a:lnTo>
                    <a:pt x="425949" y="379730"/>
                  </a:lnTo>
                  <a:lnTo>
                    <a:pt x="434177" y="382270"/>
                  </a:lnTo>
                  <a:lnTo>
                    <a:pt x="440416" y="386080"/>
                  </a:lnTo>
                  <a:lnTo>
                    <a:pt x="444428" y="394970"/>
                  </a:lnTo>
                  <a:lnTo>
                    <a:pt x="445977" y="405130"/>
                  </a:lnTo>
                  <a:lnTo>
                    <a:pt x="446063" y="411480"/>
                  </a:lnTo>
                  <a:lnTo>
                    <a:pt x="446167" y="576580"/>
                  </a:lnTo>
                  <a:lnTo>
                    <a:pt x="446281" y="588010"/>
                  </a:lnTo>
                  <a:lnTo>
                    <a:pt x="446399" y="596900"/>
                  </a:lnTo>
                  <a:lnTo>
                    <a:pt x="446510" y="603250"/>
                  </a:lnTo>
                  <a:lnTo>
                    <a:pt x="442446" y="607060"/>
                  </a:lnTo>
                  <a:lnTo>
                    <a:pt x="516506" y="607060"/>
                  </a:lnTo>
                  <a:lnTo>
                    <a:pt x="507578" y="604520"/>
                  </a:lnTo>
                  <a:lnTo>
                    <a:pt x="505022" y="595630"/>
                  </a:lnTo>
                  <a:lnTo>
                    <a:pt x="504967" y="548640"/>
                  </a:lnTo>
                  <a:lnTo>
                    <a:pt x="467617" y="548640"/>
                  </a:lnTo>
                  <a:lnTo>
                    <a:pt x="469268" y="541020"/>
                  </a:lnTo>
                  <a:lnTo>
                    <a:pt x="469103" y="411480"/>
                  </a:lnTo>
                  <a:lnTo>
                    <a:pt x="468346" y="400050"/>
                  </a:lnTo>
                  <a:lnTo>
                    <a:pt x="465920" y="389890"/>
                  </a:lnTo>
                  <a:lnTo>
                    <a:pt x="461483" y="379730"/>
                  </a:lnTo>
                  <a:close/>
                </a:path>
                <a:path w="636270" h="621029">
                  <a:moveTo>
                    <a:pt x="565643" y="378460"/>
                  </a:moveTo>
                  <a:lnTo>
                    <a:pt x="528730" y="378460"/>
                  </a:lnTo>
                  <a:lnTo>
                    <a:pt x="536889" y="379730"/>
                  </a:lnTo>
                  <a:lnTo>
                    <a:pt x="543702" y="384810"/>
                  </a:lnTo>
                  <a:lnTo>
                    <a:pt x="548473" y="392430"/>
                  </a:lnTo>
                  <a:lnTo>
                    <a:pt x="550510" y="402590"/>
                  </a:lnTo>
                  <a:lnTo>
                    <a:pt x="550755" y="411480"/>
                  </a:lnTo>
                  <a:lnTo>
                    <a:pt x="550821" y="453390"/>
                  </a:lnTo>
                  <a:lnTo>
                    <a:pt x="550714" y="556260"/>
                  </a:lnTo>
                  <a:lnTo>
                    <a:pt x="550829" y="575310"/>
                  </a:lnTo>
                  <a:lnTo>
                    <a:pt x="551072" y="593090"/>
                  </a:lnTo>
                  <a:lnTo>
                    <a:pt x="551260" y="601980"/>
                  </a:lnTo>
                  <a:lnTo>
                    <a:pt x="548186" y="607060"/>
                  </a:lnTo>
                  <a:lnTo>
                    <a:pt x="581454" y="607060"/>
                  </a:lnTo>
                  <a:lnTo>
                    <a:pt x="576074" y="604520"/>
                  </a:lnTo>
                  <a:lnTo>
                    <a:pt x="574102" y="599440"/>
                  </a:lnTo>
                  <a:lnTo>
                    <a:pt x="573898" y="590550"/>
                  </a:lnTo>
                  <a:lnTo>
                    <a:pt x="573943" y="585470"/>
                  </a:lnTo>
                  <a:lnTo>
                    <a:pt x="574252" y="577850"/>
                  </a:lnTo>
                  <a:lnTo>
                    <a:pt x="576533" y="571500"/>
                  </a:lnTo>
                  <a:lnTo>
                    <a:pt x="582338" y="570230"/>
                  </a:lnTo>
                  <a:lnTo>
                    <a:pt x="593322" y="568960"/>
                  </a:lnTo>
                  <a:lnTo>
                    <a:pt x="634520" y="568960"/>
                  </a:lnTo>
                  <a:lnTo>
                    <a:pt x="634589" y="549910"/>
                  </a:lnTo>
                  <a:lnTo>
                    <a:pt x="591696" y="549910"/>
                  </a:lnTo>
                  <a:lnTo>
                    <a:pt x="583021" y="548640"/>
                  </a:lnTo>
                  <a:lnTo>
                    <a:pt x="577344" y="546100"/>
                  </a:lnTo>
                  <a:lnTo>
                    <a:pt x="574303" y="541020"/>
                  </a:lnTo>
                  <a:lnTo>
                    <a:pt x="573645" y="533400"/>
                  </a:lnTo>
                  <a:lnTo>
                    <a:pt x="573635" y="525780"/>
                  </a:lnTo>
                  <a:lnTo>
                    <a:pt x="573912" y="508000"/>
                  </a:lnTo>
                  <a:lnTo>
                    <a:pt x="574029" y="492760"/>
                  </a:lnTo>
                  <a:lnTo>
                    <a:pt x="573920" y="438150"/>
                  </a:lnTo>
                  <a:lnTo>
                    <a:pt x="570965" y="391160"/>
                  </a:lnTo>
                  <a:lnTo>
                    <a:pt x="566573" y="379730"/>
                  </a:lnTo>
                  <a:lnTo>
                    <a:pt x="565643" y="378460"/>
                  </a:lnTo>
                  <a:close/>
                </a:path>
                <a:path w="636270" h="621029">
                  <a:moveTo>
                    <a:pt x="634520" y="568960"/>
                  </a:moveTo>
                  <a:lnTo>
                    <a:pt x="593322" y="568960"/>
                  </a:lnTo>
                  <a:lnTo>
                    <a:pt x="603597" y="570230"/>
                  </a:lnTo>
                  <a:lnTo>
                    <a:pt x="609010" y="572770"/>
                  </a:lnTo>
                  <a:lnTo>
                    <a:pt x="611103" y="577850"/>
                  </a:lnTo>
                  <a:lnTo>
                    <a:pt x="611314" y="585470"/>
                  </a:lnTo>
                  <a:lnTo>
                    <a:pt x="611376" y="590550"/>
                  </a:lnTo>
                  <a:lnTo>
                    <a:pt x="611072" y="599440"/>
                  </a:lnTo>
                  <a:lnTo>
                    <a:pt x="608927" y="604520"/>
                  </a:lnTo>
                  <a:lnTo>
                    <a:pt x="603158" y="607060"/>
                  </a:lnTo>
                  <a:lnTo>
                    <a:pt x="632852" y="607060"/>
                  </a:lnTo>
                  <a:lnTo>
                    <a:pt x="634445" y="598170"/>
                  </a:lnTo>
                  <a:lnTo>
                    <a:pt x="634520" y="568960"/>
                  </a:lnTo>
                  <a:close/>
                </a:path>
                <a:path w="636270" h="621029">
                  <a:moveTo>
                    <a:pt x="50054" y="568960"/>
                  </a:moveTo>
                  <a:lnTo>
                    <a:pt x="38142" y="568960"/>
                  </a:lnTo>
                  <a:lnTo>
                    <a:pt x="44174" y="570230"/>
                  </a:lnTo>
                  <a:lnTo>
                    <a:pt x="50054" y="568960"/>
                  </a:lnTo>
                  <a:close/>
                </a:path>
                <a:path w="636270" h="621029">
                  <a:moveTo>
                    <a:pt x="106683" y="356870"/>
                  </a:moveTo>
                  <a:lnTo>
                    <a:pt x="69657" y="387350"/>
                  </a:lnTo>
                  <a:lnTo>
                    <a:pt x="66071" y="433070"/>
                  </a:lnTo>
                  <a:lnTo>
                    <a:pt x="65951" y="516890"/>
                  </a:lnTo>
                  <a:lnTo>
                    <a:pt x="65828" y="533400"/>
                  </a:lnTo>
                  <a:lnTo>
                    <a:pt x="70184" y="543560"/>
                  </a:lnTo>
                  <a:lnTo>
                    <a:pt x="61751" y="547370"/>
                  </a:lnTo>
                  <a:lnTo>
                    <a:pt x="53629" y="549910"/>
                  </a:lnTo>
                  <a:lnTo>
                    <a:pt x="86240" y="549910"/>
                  </a:lnTo>
                  <a:lnTo>
                    <a:pt x="86291" y="412750"/>
                  </a:lnTo>
                  <a:lnTo>
                    <a:pt x="104245" y="378460"/>
                  </a:lnTo>
                  <a:lnTo>
                    <a:pt x="111725" y="377190"/>
                  </a:lnTo>
                  <a:lnTo>
                    <a:pt x="143987" y="377190"/>
                  </a:lnTo>
                  <a:lnTo>
                    <a:pt x="136554" y="367030"/>
                  </a:lnTo>
                  <a:lnTo>
                    <a:pt x="122962" y="358140"/>
                  </a:lnTo>
                  <a:lnTo>
                    <a:pt x="106683" y="356870"/>
                  </a:lnTo>
                  <a:close/>
                </a:path>
                <a:path w="636270" h="621029">
                  <a:moveTo>
                    <a:pt x="636160" y="304800"/>
                  </a:moveTo>
                  <a:lnTo>
                    <a:pt x="602915" y="304800"/>
                  </a:lnTo>
                  <a:lnTo>
                    <a:pt x="608878" y="307340"/>
                  </a:lnTo>
                  <a:lnTo>
                    <a:pt x="611086" y="313690"/>
                  </a:lnTo>
                  <a:lnTo>
                    <a:pt x="611327" y="321310"/>
                  </a:lnTo>
                  <a:lnTo>
                    <a:pt x="611310" y="534670"/>
                  </a:lnTo>
                  <a:lnTo>
                    <a:pt x="611056" y="542290"/>
                  </a:lnTo>
                  <a:lnTo>
                    <a:pt x="608860" y="546100"/>
                  </a:lnTo>
                  <a:lnTo>
                    <a:pt x="603007" y="548640"/>
                  </a:lnTo>
                  <a:lnTo>
                    <a:pt x="591696" y="549910"/>
                  </a:lnTo>
                  <a:lnTo>
                    <a:pt x="634589" y="549910"/>
                  </a:lnTo>
                  <a:lnTo>
                    <a:pt x="634838" y="506730"/>
                  </a:lnTo>
                  <a:lnTo>
                    <a:pt x="635960" y="346710"/>
                  </a:lnTo>
                  <a:lnTo>
                    <a:pt x="636160" y="304800"/>
                  </a:lnTo>
                  <a:close/>
                </a:path>
                <a:path w="636270" h="621029">
                  <a:moveTo>
                    <a:pt x="222776" y="356870"/>
                  </a:moveTo>
                  <a:lnTo>
                    <a:pt x="208309" y="356870"/>
                  </a:lnTo>
                  <a:lnTo>
                    <a:pt x="194351" y="361950"/>
                  </a:lnTo>
                  <a:lnTo>
                    <a:pt x="182439" y="372110"/>
                  </a:lnTo>
                  <a:lnTo>
                    <a:pt x="174108" y="384810"/>
                  </a:lnTo>
                  <a:lnTo>
                    <a:pt x="170895" y="400050"/>
                  </a:lnTo>
                  <a:lnTo>
                    <a:pt x="170796" y="527050"/>
                  </a:lnTo>
                  <a:lnTo>
                    <a:pt x="170879" y="532130"/>
                  </a:lnTo>
                  <a:lnTo>
                    <a:pt x="170323" y="541020"/>
                  </a:lnTo>
                  <a:lnTo>
                    <a:pt x="172393" y="548640"/>
                  </a:lnTo>
                  <a:lnTo>
                    <a:pt x="193612" y="548640"/>
                  </a:lnTo>
                  <a:lnTo>
                    <a:pt x="193717" y="406400"/>
                  </a:lnTo>
                  <a:lnTo>
                    <a:pt x="195067" y="394970"/>
                  </a:lnTo>
                  <a:lnTo>
                    <a:pt x="198950" y="386080"/>
                  </a:lnTo>
                  <a:lnTo>
                    <a:pt x="205284" y="381000"/>
                  </a:lnTo>
                  <a:lnTo>
                    <a:pt x="213986" y="379730"/>
                  </a:lnTo>
                  <a:lnTo>
                    <a:pt x="251155" y="379730"/>
                  </a:lnTo>
                  <a:lnTo>
                    <a:pt x="247839" y="373380"/>
                  </a:lnTo>
                  <a:lnTo>
                    <a:pt x="236503" y="363220"/>
                  </a:lnTo>
                  <a:lnTo>
                    <a:pt x="222776" y="356870"/>
                  </a:lnTo>
                  <a:close/>
                </a:path>
                <a:path w="636270" h="621029">
                  <a:moveTo>
                    <a:pt x="320729" y="356870"/>
                  </a:moveTo>
                  <a:lnTo>
                    <a:pt x="284836" y="374650"/>
                  </a:lnTo>
                  <a:lnTo>
                    <a:pt x="275390" y="534670"/>
                  </a:lnTo>
                  <a:lnTo>
                    <a:pt x="275263" y="543560"/>
                  </a:lnTo>
                  <a:lnTo>
                    <a:pt x="274349" y="548640"/>
                  </a:lnTo>
                  <a:lnTo>
                    <a:pt x="298334" y="548640"/>
                  </a:lnTo>
                  <a:lnTo>
                    <a:pt x="298428" y="402590"/>
                  </a:lnTo>
                  <a:lnTo>
                    <a:pt x="300302" y="392430"/>
                  </a:lnTo>
                  <a:lnTo>
                    <a:pt x="304583" y="384810"/>
                  </a:lnTo>
                  <a:lnTo>
                    <a:pt x="310742" y="379730"/>
                  </a:lnTo>
                  <a:lnTo>
                    <a:pt x="318253" y="378460"/>
                  </a:lnTo>
                  <a:lnTo>
                    <a:pt x="355389" y="378460"/>
                  </a:lnTo>
                  <a:lnTo>
                    <a:pt x="353952" y="375920"/>
                  </a:lnTo>
                  <a:lnTo>
                    <a:pt x="344332" y="365760"/>
                  </a:lnTo>
                  <a:lnTo>
                    <a:pt x="333005" y="359410"/>
                  </a:lnTo>
                  <a:lnTo>
                    <a:pt x="320729" y="356870"/>
                  </a:lnTo>
                  <a:close/>
                </a:path>
                <a:path w="636270" h="621029">
                  <a:moveTo>
                    <a:pt x="421281" y="355600"/>
                  </a:moveTo>
                  <a:lnTo>
                    <a:pt x="387679" y="375920"/>
                  </a:lnTo>
                  <a:lnTo>
                    <a:pt x="380092" y="421640"/>
                  </a:lnTo>
                  <a:lnTo>
                    <a:pt x="379975" y="548640"/>
                  </a:lnTo>
                  <a:lnTo>
                    <a:pt x="400280" y="548640"/>
                  </a:lnTo>
                  <a:lnTo>
                    <a:pt x="400355" y="421640"/>
                  </a:lnTo>
                  <a:lnTo>
                    <a:pt x="400758" y="414020"/>
                  </a:lnTo>
                  <a:lnTo>
                    <a:pt x="417337" y="379730"/>
                  </a:lnTo>
                  <a:lnTo>
                    <a:pt x="461483" y="379730"/>
                  </a:lnTo>
                  <a:lnTo>
                    <a:pt x="454689" y="369570"/>
                  </a:lnTo>
                  <a:lnTo>
                    <a:pt x="444509" y="361950"/>
                  </a:lnTo>
                  <a:lnTo>
                    <a:pt x="433331" y="356870"/>
                  </a:lnTo>
                  <a:lnTo>
                    <a:pt x="421281" y="355600"/>
                  </a:lnTo>
                  <a:close/>
                </a:path>
                <a:path w="636270" h="621029">
                  <a:moveTo>
                    <a:pt x="536853" y="356870"/>
                  </a:moveTo>
                  <a:lnTo>
                    <a:pt x="524413" y="356870"/>
                  </a:lnTo>
                  <a:lnTo>
                    <a:pt x="511229" y="360680"/>
                  </a:lnTo>
                  <a:lnTo>
                    <a:pt x="486637" y="389890"/>
                  </a:lnTo>
                  <a:lnTo>
                    <a:pt x="484678" y="535940"/>
                  </a:lnTo>
                  <a:lnTo>
                    <a:pt x="484567" y="544830"/>
                  </a:lnTo>
                  <a:lnTo>
                    <a:pt x="484674" y="548640"/>
                  </a:lnTo>
                  <a:lnTo>
                    <a:pt x="504967" y="548640"/>
                  </a:lnTo>
                  <a:lnTo>
                    <a:pt x="505039" y="421640"/>
                  </a:lnTo>
                  <a:lnTo>
                    <a:pt x="505506" y="414020"/>
                  </a:lnTo>
                  <a:lnTo>
                    <a:pt x="528730" y="378460"/>
                  </a:lnTo>
                  <a:lnTo>
                    <a:pt x="565643" y="378460"/>
                  </a:lnTo>
                  <a:lnTo>
                    <a:pt x="559134" y="369570"/>
                  </a:lnTo>
                  <a:lnTo>
                    <a:pt x="548457" y="361950"/>
                  </a:lnTo>
                  <a:lnTo>
                    <a:pt x="536853" y="356870"/>
                  </a:lnTo>
                  <a:close/>
                </a:path>
                <a:path w="636270" h="621029">
                  <a:moveTo>
                    <a:pt x="411890" y="278130"/>
                  </a:moveTo>
                  <a:lnTo>
                    <a:pt x="405895" y="279400"/>
                  </a:lnTo>
                  <a:lnTo>
                    <a:pt x="115662" y="279400"/>
                  </a:lnTo>
                  <a:lnTo>
                    <a:pt x="103445" y="280670"/>
                  </a:lnTo>
                  <a:lnTo>
                    <a:pt x="428146" y="280670"/>
                  </a:lnTo>
                  <a:lnTo>
                    <a:pt x="411890" y="278130"/>
                  </a:lnTo>
                  <a:close/>
                </a:path>
                <a:path w="636270" h="621029">
                  <a:moveTo>
                    <a:pt x="458613" y="222250"/>
                  </a:moveTo>
                  <a:lnTo>
                    <a:pt x="429200" y="222250"/>
                  </a:lnTo>
                  <a:lnTo>
                    <a:pt x="432324" y="226060"/>
                  </a:lnTo>
                  <a:lnTo>
                    <a:pt x="432314" y="232410"/>
                  </a:lnTo>
                  <a:lnTo>
                    <a:pt x="432188" y="257810"/>
                  </a:lnTo>
                  <a:lnTo>
                    <a:pt x="432515" y="265430"/>
                  </a:lnTo>
                  <a:lnTo>
                    <a:pt x="433251" y="276860"/>
                  </a:lnTo>
                  <a:lnTo>
                    <a:pt x="428146" y="280670"/>
                  </a:lnTo>
                  <a:lnTo>
                    <a:pt x="636222" y="280670"/>
                  </a:lnTo>
                  <a:lnTo>
                    <a:pt x="636223" y="279400"/>
                  </a:lnTo>
                  <a:lnTo>
                    <a:pt x="466737" y="279400"/>
                  </a:lnTo>
                  <a:lnTo>
                    <a:pt x="457684" y="276860"/>
                  </a:lnTo>
                  <a:lnTo>
                    <a:pt x="455411" y="267970"/>
                  </a:lnTo>
                  <a:lnTo>
                    <a:pt x="455497" y="240030"/>
                  </a:lnTo>
                  <a:lnTo>
                    <a:pt x="455380" y="234950"/>
                  </a:lnTo>
                  <a:lnTo>
                    <a:pt x="454917" y="226060"/>
                  </a:lnTo>
                  <a:lnTo>
                    <a:pt x="458613" y="222250"/>
                  </a:lnTo>
                  <a:close/>
                </a:path>
                <a:path w="636270" h="621029">
                  <a:moveTo>
                    <a:pt x="102680" y="222250"/>
                  </a:moveTo>
                  <a:lnTo>
                    <a:pt x="68168" y="222250"/>
                  </a:lnTo>
                  <a:lnTo>
                    <a:pt x="76388" y="226060"/>
                  </a:lnTo>
                  <a:lnTo>
                    <a:pt x="79416" y="233680"/>
                  </a:lnTo>
                  <a:lnTo>
                    <a:pt x="79615" y="241300"/>
                  </a:lnTo>
                  <a:lnTo>
                    <a:pt x="79722" y="267970"/>
                  </a:lnTo>
                  <a:lnTo>
                    <a:pt x="77102" y="276860"/>
                  </a:lnTo>
                  <a:lnTo>
                    <a:pt x="68458" y="279400"/>
                  </a:lnTo>
                  <a:lnTo>
                    <a:pt x="102581" y="279400"/>
                  </a:lnTo>
                  <a:lnTo>
                    <a:pt x="99127" y="274320"/>
                  </a:lnTo>
                  <a:lnTo>
                    <a:pt x="99902" y="262890"/>
                  </a:lnTo>
                  <a:lnTo>
                    <a:pt x="100154" y="257810"/>
                  </a:lnTo>
                  <a:lnTo>
                    <a:pt x="100270" y="252730"/>
                  </a:lnTo>
                  <a:lnTo>
                    <a:pt x="100159" y="242570"/>
                  </a:lnTo>
                  <a:lnTo>
                    <a:pt x="99984" y="237490"/>
                  </a:lnTo>
                  <a:lnTo>
                    <a:pt x="99735" y="232410"/>
                  </a:lnTo>
                  <a:lnTo>
                    <a:pt x="99394" y="226060"/>
                  </a:lnTo>
                  <a:lnTo>
                    <a:pt x="102680" y="222250"/>
                  </a:lnTo>
                  <a:close/>
                </a:path>
                <a:path w="636270" h="621029">
                  <a:moveTo>
                    <a:pt x="191075" y="222250"/>
                  </a:moveTo>
                  <a:lnTo>
                    <a:pt x="155797" y="222250"/>
                  </a:lnTo>
                  <a:lnTo>
                    <a:pt x="165305" y="224790"/>
                  </a:lnTo>
                  <a:lnTo>
                    <a:pt x="167934" y="234950"/>
                  </a:lnTo>
                  <a:lnTo>
                    <a:pt x="167905" y="257810"/>
                  </a:lnTo>
                  <a:lnTo>
                    <a:pt x="167651" y="269240"/>
                  </a:lnTo>
                  <a:lnTo>
                    <a:pt x="165089" y="275590"/>
                  </a:lnTo>
                  <a:lnTo>
                    <a:pt x="158115" y="279400"/>
                  </a:lnTo>
                  <a:lnTo>
                    <a:pt x="200786" y="279400"/>
                  </a:lnTo>
                  <a:lnTo>
                    <a:pt x="190962" y="276860"/>
                  </a:lnTo>
                  <a:lnTo>
                    <a:pt x="188246" y="266700"/>
                  </a:lnTo>
                  <a:lnTo>
                    <a:pt x="188368" y="232410"/>
                  </a:lnTo>
                  <a:lnTo>
                    <a:pt x="188776" y="226060"/>
                  </a:lnTo>
                  <a:lnTo>
                    <a:pt x="191075" y="222250"/>
                  </a:lnTo>
                  <a:close/>
                </a:path>
                <a:path w="636270" h="621029">
                  <a:moveTo>
                    <a:pt x="286673" y="222250"/>
                  </a:moveTo>
                  <a:lnTo>
                    <a:pt x="244263" y="222250"/>
                  </a:lnTo>
                  <a:lnTo>
                    <a:pt x="252035" y="223520"/>
                  </a:lnTo>
                  <a:lnTo>
                    <a:pt x="256201" y="226060"/>
                  </a:lnTo>
                  <a:lnTo>
                    <a:pt x="256074" y="232410"/>
                  </a:lnTo>
                  <a:lnTo>
                    <a:pt x="256024" y="248920"/>
                  </a:lnTo>
                  <a:lnTo>
                    <a:pt x="255622" y="264160"/>
                  </a:lnTo>
                  <a:lnTo>
                    <a:pt x="251919" y="274320"/>
                  </a:lnTo>
                  <a:lnTo>
                    <a:pt x="241831" y="278130"/>
                  </a:lnTo>
                  <a:lnTo>
                    <a:pt x="222177" y="279400"/>
                  </a:lnTo>
                  <a:lnTo>
                    <a:pt x="288880" y="279400"/>
                  </a:lnTo>
                  <a:lnTo>
                    <a:pt x="279084" y="276860"/>
                  </a:lnTo>
                  <a:lnTo>
                    <a:pt x="276382" y="266700"/>
                  </a:lnTo>
                  <a:lnTo>
                    <a:pt x="276500" y="241300"/>
                  </a:lnTo>
                  <a:lnTo>
                    <a:pt x="276837" y="232410"/>
                  </a:lnTo>
                  <a:lnTo>
                    <a:pt x="279675" y="226060"/>
                  </a:lnTo>
                  <a:lnTo>
                    <a:pt x="286673" y="222250"/>
                  </a:lnTo>
                  <a:close/>
                </a:path>
                <a:path w="636270" h="621029">
                  <a:moveTo>
                    <a:pt x="371021" y="222250"/>
                  </a:moveTo>
                  <a:lnTo>
                    <a:pt x="340630" y="222250"/>
                  </a:lnTo>
                  <a:lnTo>
                    <a:pt x="344351" y="226060"/>
                  </a:lnTo>
                  <a:lnTo>
                    <a:pt x="344217" y="232410"/>
                  </a:lnTo>
                  <a:lnTo>
                    <a:pt x="340030" y="274320"/>
                  </a:lnTo>
                  <a:lnTo>
                    <a:pt x="310188" y="279400"/>
                  </a:lnTo>
                  <a:lnTo>
                    <a:pt x="378911" y="279400"/>
                  </a:lnTo>
                  <a:lnTo>
                    <a:pt x="369583" y="276860"/>
                  </a:lnTo>
                  <a:lnTo>
                    <a:pt x="367260" y="267970"/>
                  </a:lnTo>
                  <a:lnTo>
                    <a:pt x="367368" y="233680"/>
                  </a:lnTo>
                  <a:lnTo>
                    <a:pt x="367503" y="226060"/>
                  </a:lnTo>
                  <a:lnTo>
                    <a:pt x="371021" y="222250"/>
                  </a:lnTo>
                  <a:close/>
                </a:path>
                <a:path w="636270" h="621029">
                  <a:moveTo>
                    <a:pt x="500879" y="278130"/>
                  </a:moveTo>
                  <a:lnTo>
                    <a:pt x="493970" y="279400"/>
                  </a:lnTo>
                  <a:lnTo>
                    <a:pt x="517211" y="279400"/>
                  </a:lnTo>
                  <a:lnTo>
                    <a:pt x="500879" y="278130"/>
                  </a:lnTo>
                  <a:close/>
                </a:path>
                <a:path w="636270" h="621029">
                  <a:moveTo>
                    <a:pt x="553329" y="222250"/>
                  </a:moveTo>
                  <a:lnTo>
                    <a:pt x="516716" y="222250"/>
                  </a:lnTo>
                  <a:lnTo>
                    <a:pt x="520678" y="226060"/>
                  </a:lnTo>
                  <a:lnTo>
                    <a:pt x="520492" y="236220"/>
                  </a:lnTo>
                  <a:lnTo>
                    <a:pt x="520366" y="257810"/>
                  </a:lnTo>
                  <a:lnTo>
                    <a:pt x="520615" y="266700"/>
                  </a:lnTo>
                  <a:lnTo>
                    <a:pt x="521034" y="275590"/>
                  </a:lnTo>
                  <a:lnTo>
                    <a:pt x="517211" y="279400"/>
                  </a:lnTo>
                  <a:lnTo>
                    <a:pt x="576939" y="279400"/>
                  </a:lnTo>
                  <a:lnTo>
                    <a:pt x="557615" y="278130"/>
                  </a:lnTo>
                  <a:lnTo>
                    <a:pt x="547694" y="275590"/>
                  </a:lnTo>
                  <a:lnTo>
                    <a:pt x="544046" y="265430"/>
                  </a:lnTo>
                  <a:lnTo>
                    <a:pt x="543606" y="248920"/>
                  </a:lnTo>
                  <a:lnTo>
                    <a:pt x="543706" y="240030"/>
                  </a:lnTo>
                  <a:lnTo>
                    <a:pt x="543908" y="232410"/>
                  </a:lnTo>
                  <a:lnTo>
                    <a:pt x="546446" y="224790"/>
                  </a:lnTo>
                  <a:lnTo>
                    <a:pt x="553329" y="222250"/>
                  </a:lnTo>
                  <a:close/>
                </a:path>
                <a:path w="636270" h="621029">
                  <a:moveTo>
                    <a:pt x="636079" y="220980"/>
                  </a:moveTo>
                  <a:lnTo>
                    <a:pt x="103775" y="220980"/>
                  </a:lnTo>
                  <a:lnTo>
                    <a:pt x="121339" y="222250"/>
                  </a:lnTo>
                  <a:lnTo>
                    <a:pt x="607597" y="222250"/>
                  </a:lnTo>
                  <a:lnTo>
                    <a:pt x="611521" y="226060"/>
                  </a:lnTo>
                  <a:lnTo>
                    <a:pt x="611380" y="232410"/>
                  </a:lnTo>
                  <a:lnTo>
                    <a:pt x="611347" y="266700"/>
                  </a:lnTo>
                  <a:lnTo>
                    <a:pt x="608660" y="276860"/>
                  </a:lnTo>
                  <a:lnTo>
                    <a:pt x="598730" y="279400"/>
                  </a:lnTo>
                  <a:lnTo>
                    <a:pt x="636223" y="279400"/>
                  </a:lnTo>
                  <a:lnTo>
                    <a:pt x="636079" y="220980"/>
                  </a:lnTo>
                  <a:close/>
                </a:path>
                <a:path w="636270" h="621029">
                  <a:moveTo>
                    <a:pt x="231958" y="222250"/>
                  </a:moveTo>
                  <a:lnTo>
                    <a:pt x="191075" y="222250"/>
                  </a:lnTo>
                  <a:lnTo>
                    <a:pt x="195126" y="223520"/>
                  </a:lnTo>
                  <a:lnTo>
                    <a:pt x="207467" y="224790"/>
                  </a:lnTo>
                  <a:lnTo>
                    <a:pt x="231958" y="222250"/>
                  </a:lnTo>
                  <a:close/>
                </a:path>
                <a:path w="636270" h="621029">
                  <a:moveTo>
                    <a:pt x="543099" y="165100"/>
                  </a:moveTo>
                  <a:lnTo>
                    <a:pt x="516576" y="165100"/>
                  </a:lnTo>
                  <a:lnTo>
                    <a:pt x="519065" y="171450"/>
                  </a:lnTo>
                  <a:lnTo>
                    <a:pt x="520777" y="177800"/>
                  </a:lnTo>
                  <a:lnTo>
                    <a:pt x="521323" y="185420"/>
                  </a:lnTo>
                  <a:lnTo>
                    <a:pt x="520672" y="191770"/>
                  </a:lnTo>
                  <a:lnTo>
                    <a:pt x="518798" y="198120"/>
                  </a:lnTo>
                  <a:lnTo>
                    <a:pt x="516906" y="203200"/>
                  </a:lnTo>
                  <a:lnTo>
                    <a:pt x="623726" y="203200"/>
                  </a:lnTo>
                  <a:lnTo>
                    <a:pt x="613762" y="201930"/>
                  </a:lnTo>
                  <a:lnTo>
                    <a:pt x="554258" y="201930"/>
                  </a:lnTo>
                  <a:lnTo>
                    <a:pt x="545811" y="199390"/>
                  </a:lnTo>
                  <a:lnTo>
                    <a:pt x="543566" y="191770"/>
                  </a:lnTo>
                  <a:lnTo>
                    <a:pt x="543486" y="171450"/>
                  </a:lnTo>
                  <a:lnTo>
                    <a:pt x="543099" y="165100"/>
                  </a:lnTo>
                  <a:close/>
                </a:path>
                <a:path w="636270" h="621029">
                  <a:moveTo>
                    <a:pt x="315675" y="0"/>
                  </a:moveTo>
                  <a:lnTo>
                    <a:pt x="298149" y="2540"/>
                  </a:lnTo>
                  <a:lnTo>
                    <a:pt x="300333" y="10160"/>
                  </a:lnTo>
                  <a:lnTo>
                    <a:pt x="300213" y="31750"/>
                  </a:lnTo>
                  <a:lnTo>
                    <a:pt x="300156" y="105410"/>
                  </a:lnTo>
                  <a:lnTo>
                    <a:pt x="300447" y="128270"/>
                  </a:lnTo>
                  <a:lnTo>
                    <a:pt x="300701" y="140970"/>
                  </a:lnTo>
                  <a:lnTo>
                    <a:pt x="296066" y="144780"/>
                  </a:lnTo>
                  <a:lnTo>
                    <a:pt x="91000" y="144780"/>
                  </a:lnTo>
                  <a:lnTo>
                    <a:pt x="83930" y="148590"/>
                  </a:lnTo>
                  <a:lnTo>
                    <a:pt x="80686" y="154940"/>
                  </a:lnTo>
                  <a:lnTo>
                    <a:pt x="79861" y="167640"/>
                  </a:lnTo>
                  <a:lnTo>
                    <a:pt x="79823" y="173990"/>
                  </a:lnTo>
                  <a:lnTo>
                    <a:pt x="79493" y="180340"/>
                  </a:lnTo>
                  <a:lnTo>
                    <a:pt x="80572" y="198120"/>
                  </a:lnTo>
                  <a:lnTo>
                    <a:pt x="75568" y="201930"/>
                  </a:lnTo>
                  <a:lnTo>
                    <a:pt x="119460" y="201930"/>
                  </a:lnTo>
                  <a:lnTo>
                    <a:pt x="108069" y="199390"/>
                  </a:lnTo>
                  <a:lnTo>
                    <a:pt x="100868" y="194310"/>
                  </a:lnTo>
                  <a:lnTo>
                    <a:pt x="98309" y="184150"/>
                  </a:lnTo>
                  <a:lnTo>
                    <a:pt x="100841" y="172720"/>
                  </a:lnTo>
                  <a:lnTo>
                    <a:pt x="104207" y="165100"/>
                  </a:lnTo>
                  <a:lnTo>
                    <a:pt x="543099" y="165100"/>
                  </a:lnTo>
                  <a:lnTo>
                    <a:pt x="542636" y="157480"/>
                  </a:lnTo>
                  <a:lnTo>
                    <a:pt x="538874" y="148590"/>
                  </a:lnTo>
                  <a:lnTo>
                    <a:pt x="533194" y="146050"/>
                  </a:lnTo>
                  <a:lnTo>
                    <a:pt x="323942" y="146050"/>
                  </a:lnTo>
                  <a:lnTo>
                    <a:pt x="323726" y="137160"/>
                  </a:lnTo>
                  <a:lnTo>
                    <a:pt x="322410" y="121920"/>
                  </a:lnTo>
                  <a:lnTo>
                    <a:pt x="323232" y="114300"/>
                  </a:lnTo>
                  <a:lnTo>
                    <a:pt x="326990" y="107950"/>
                  </a:lnTo>
                  <a:lnTo>
                    <a:pt x="333943" y="106680"/>
                  </a:lnTo>
                  <a:lnTo>
                    <a:pt x="346051" y="105410"/>
                  </a:lnTo>
                  <a:lnTo>
                    <a:pt x="449876" y="105410"/>
                  </a:lnTo>
                  <a:lnTo>
                    <a:pt x="449828" y="100330"/>
                  </a:lnTo>
                  <a:lnTo>
                    <a:pt x="396009" y="100330"/>
                  </a:lnTo>
                  <a:lnTo>
                    <a:pt x="389328" y="97790"/>
                  </a:lnTo>
                  <a:lnTo>
                    <a:pt x="386867" y="90170"/>
                  </a:lnTo>
                  <a:lnTo>
                    <a:pt x="386761" y="86360"/>
                  </a:lnTo>
                  <a:lnTo>
                    <a:pt x="333258" y="86360"/>
                  </a:lnTo>
                  <a:lnTo>
                    <a:pt x="326141" y="83820"/>
                  </a:lnTo>
                  <a:lnTo>
                    <a:pt x="323522" y="76200"/>
                  </a:lnTo>
                  <a:lnTo>
                    <a:pt x="323188" y="63500"/>
                  </a:lnTo>
                  <a:lnTo>
                    <a:pt x="323213" y="60960"/>
                  </a:lnTo>
                  <a:lnTo>
                    <a:pt x="323154" y="54610"/>
                  </a:lnTo>
                  <a:lnTo>
                    <a:pt x="322802" y="50800"/>
                  </a:lnTo>
                  <a:lnTo>
                    <a:pt x="323584" y="45720"/>
                  </a:lnTo>
                  <a:lnTo>
                    <a:pt x="327917" y="41910"/>
                  </a:lnTo>
                  <a:lnTo>
                    <a:pt x="343157" y="39370"/>
                  </a:lnTo>
                  <a:lnTo>
                    <a:pt x="450037" y="39370"/>
                  </a:lnTo>
                  <a:lnTo>
                    <a:pt x="450104" y="35560"/>
                  </a:lnTo>
                  <a:lnTo>
                    <a:pt x="444567" y="31750"/>
                  </a:lnTo>
                  <a:lnTo>
                    <a:pt x="387506" y="31750"/>
                  </a:lnTo>
                  <a:lnTo>
                    <a:pt x="380893" y="17780"/>
                  </a:lnTo>
                  <a:lnTo>
                    <a:pt x="329124" y="17780"/>
                  </a:lnTo>
                  <a:lnTo>
                    <a:pt x="324514" y="16510"/>
                  </a:lnTo>
                  <a:lnTo>
                    <a:pt x="321110" y="2540"/>
                  </a:lnTo>
                  <a:lnTo>
                    <a:pt x="315675" y="0"/>
                  </a:lnTo>
                  <a:close/>
                </a:path>
                <a:path w="636270" h="621029">
                  <a:moveTo>
                    <a:pt x="516576" y="165100"/>
                  </a:moveTo>
                  <a:lnTo>
                    <a:pt x="104207" y="165100"/>
                  </a:lnTo>
                  <a:lnTo>
                    <a:pt x="111471" y="167640"/>
                  </a:lnTo>
                  <a:lnTo>
                    <a:pt x="508664" y="167640"/>
                  </a:lnTo>
                  <a:lnTo>
                    <a:pt x="516576" y="165100"/>
                  </a:lnTo>
                  <a:close/>
                </a:path>
                <a:path w="636270" h="621029">
                  <a:moveTo>
                    <a:pt x="331880" y="143510"/>
                  </a:moveTo>
                  <a:lnTo>
                    <a:pt x="323942" y="146050"/>
                  </a:lnTo>
                  <a:lnTo>
                    <a:pt x="533194" y="146050"/>
                  </a:lnTo>
                  <a:lnTo>
                    <a:pt x="530355" y="144780"/>
                  </a:lnTo>
                  <a:lnTo>
                    <a:pt x="381921" y="144780"/>
                  </a:lnTo>
                  <a:lnTo>
                    <a:pt x="331880" y="143510"/>
                  </a:lnTo>
                  <a:close/>
                </a:path>
                <a:path w="636270" h="621029">
                  <a:moveTo>
                    <a:pt x="255825" y="143510"/>
                  </a:moveTo>
                  <a:lnTo>
                    <a:pt x="227937" y="143510"/>
                  </a:lnTo>
                  <a:lnTo>
                    <a:pt x="172165" y="144780"/>
                  </a:lnTo>
                  <a:lnTo>
                    <a:pt x="283709" y="144780"/>
                  </a:lnTo>
                  <a:lnTo>
                    <a:pt x="255825" y="143510"/>
                  </a:lnTo>
                  <a:close/>
                </a:path>
                <a:path w="636270" h="621029">
                  <a:moveTo>
                    <a:pt x="449876" y="105410"/>
                  </a:moveTo>
                  <a:lnTo>
                    <a:pt x="346051" y="105410"/>
                  </a:lnTo>
                  <a:lnTo>
                    <a:pt x="357910" y="106680"/>
                  </a:lnTo>
                  <a:lnTo>
                    <a:pt x="364112" y="109220"/>
                  </a:lnTo>
                  <a:lnTo>
                    <a:pt x="369522" y="116840"/>
                  </a:lnTo>
                  <a:lnTo>
                    <a:pt x="376184" y="119380"/>
                  </a:lnTo>
                  <a:lnTo>
                    <a:pt x="383636" y="120650"/>
                  </a:lnTo>
                  <a:lnTo>
                    <a:pt x="445113" y="120650"/>
                  </a:lnTo>
                  <a:lnTo>
                    <a:pt x="450015" y="116840"/>
                  </a:lnTo>
                  <a:lnTo>
                    <a:pt x="449876" y="105410"/>
                  </a:lnTo>
                  <a:close/>
                </a:path>
                <a:path w="636270" h="621029">
                  <a:moveTo>
                    <a:pt x="449819" y="54610"/>
                  </a:moveTo>
                  <a:lnTo>
                    <a:pt x="420986" y="54610"/>
                  </a:lnTo>
                  <a:lnTo>
                    <a:pt x="427079" y="57150"/>
                  </a:lnTo>
                  <a:lnTo>
                    <a:pt x="429324" y="63500"/>
                  </a:lnTo>
                  <a:lnTo>
                    <a:pt x="429644" y="77470"/>
                  </a:lnTo>
                  <a:lnTo>
                    <a:pt x="429315" y="90170"/>
                  </a:lnTo>
                  <a:lnTo>
                    <a:pt x="427057" y="97790"/>
                  </a:lnTo>
                  <a:lnTo>
                    <a:pt x="420936" y="100330"/>
                  </a:lnTo>
                  <a:lnTo>
                    <a:pt x="449828" y="100330"/>
                  </a:lnTo>
                  <a:lnTo>
                    <a:pt x="449712" y="82550"/>
                  </a:lnTo>
                  <a:lnTo>
                    <a:pt x="449819" y="54610"/>
                  </a:lnTo>
                  <a:close/>
                </a:path>
                <a:path w="636270" h="621029">
                  <a:moveTo>
                    <a:pt x="450037" y="39370"/>
                  </a:moveTo>
                  <a:lnTo>
                    <a:pt x="343157" y="39370"/>
                  </a:lnTo>
                  <a:lnTo>
                    <a:pt x="358969" y="41910"/>
                  </a:lnTo>
                  <a:lnTo>
                    <a:pt x="362715" y="41910"/>
                  </a:lnTo>
                  <a:lnTo>
                    <a:pt x="363300" y="45720"/>
                  </a:lnTo>
                  <a:lnTo>
                    <a:pt x="363295" y="76200"/>
                  </a:lnTo>
                  <a:lnTo>
                    <a:pt x="363211" y="82550"/>
                  </a:lnTo>
                  <a:lnTo>
                    <a:pt x="359985" y="86360"/>
                  </a:lnTo>
                  <a:lnTo>
                    <a:pt x="386761" y="86360"/>
                  </a:lnTo>
                  <a:lnTo>
                    <a:pt x="386656" y="82550"/>
                  </a:lnTo>
                  <a:lnTo>
                    <a:pt x="386708" y="69850"/>
                  </a:lnTo>
                  <a:lnTo>
                    <a:pt x="386868" y="63500"/>
                  </a:lnTo>
                  <a:lnTo>
                    <a:pt x="389341" y="57150"/>
                  </a:lnTo>
                  <a:lnTo>
                    <a:pt x="396052" y="54610"/>
                  </a:lnTo>
                  <a:lnTo>
                    <a:pt x="449819" y="54610"/>
                  </a:lnTo>
                  <a:lnTo>
                    <a:pt x="449926" y="45720"/>
                  </a:lnTo>
                  <a:lnTo>
                    <a:pt x="450037" y="39370"/>
                  </a:lnTo>
                  <a:close/>
                </a:path>
                <a:path w="636270" h="621029">
                  <a:moveTo>
                    <a:pt x="380292" y="16510"/>
                  </a:moveTo>
                  <a:lnTo>
                    <a:pt x="371618" y="17780"/>
                  </a:lnTo>
                  <a:lnTo>
                    <a:pt x="380893" y="17780"/>
                  </a:lnTo>
                  <a:lnTo>
                    <a:pt x="380292" y="16510"/>
                  </a:lnTo>
                  <a:close/>
                </a:path>
              </a:pathLst>
            </a:custGeom>
            <a:solidFill>
              <a:srgbClr val="4FA73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72" name="Graphic 335">
            <a:extLst>
              <a:ext uri="{FF2B5EF4-FFF2-40B4-BE49-F238E27FC236}">
                <a16:creationId xmlns="" xmlns:a16="http://schemas.microsoft.com/office/drawing/2014/main" id="{F0412A8D-1ED3-48C8-9E74-5F4529DDC237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736"/>
                    </a14:imgEffect>
                    <a14:imgEffect>
                      <a14:saturation sat="400000"/>
                    </a14:imgEffect>
                    <a14:imgEffect>
                      <a14:brightnessContrast bright="-61000" contrast="-100000"/>
                    </a14:imgEffect>
                  </a14:imgLayer>
                </a14:imgProps>
              </a:ext>
              <a:ext uri="{96DAC541-7B7A-43D3-8B79-37D633B846F1}">
                <asvg:svgBlip xmlns=""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1035249" y="1320775"/>
            <a:ext cx="549096" cy="576182"/>
          </a:xfrm>
          <a:prstGeom prst="rect">
            <a:avLst/>
          </a:prstGeom>
        </p:spPr>
      </p:pic>
      <p:pic>
        <p:nvPicPr>
          <p:cNvPr id="75" name="Graphic 307">
            <a:extLst>
              <a:ext uri="{FF2B5EF4-FFF2-40B4-BE49-F238E27FC236}">
                <a16:creationId xmlns="" xmlns:a16="http://schemas.microsoft.com/office/drawing/2014/main" id="{271111AF-A0F8-44B0-8A34-7DCF1CBC7FCF}"/>
              </a:ext>
            </a:extLst>
          </p:cNvPr>
          <p:cNvPicPr>
            <a:picLocks noChangeAspect="1"/>
          </p:cNvPicPr>
          <p:nvPr/>
        </p:nvPicPr>
        <p:blipFill>
          <a:blip r:embed="rId64">
            <a:duotone>
              <a:prstClr val="black"/>
              <a:srgbClr val="66BAFF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5">
                    <a14:imgEffect>
                      <a14:brightnessContrast bright="40000" contrast="-40000"/>
                    </a14:imgEffect>
                  </a14:imgLayer>
                </a14:imgProps>
              </a:ext>
              <a:ext uri="{96DAC541-7B7A-43D3-8B79-37D633B846F1}">
                <asvg:svgBlip xmlns=""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35249" y="3290702"/>
            <a:ext cx="553806" cy="553806"/>
          </a:xfrm>
          <a:prstGeom prst="rect">
            <a:avLst/>
          </a:prstGeom>
        </p:spPr>
      </p:pic>
      <p:pic>
        <p:nvPicPr>
          <p:cNvPr id="76" name="Graphic 285">
            <a:extLst>
              <a:ext uri="{FF2B5EF4-FFF2-40B4-BE49-F238E27FC236}">
                <a16:creationId xmlns="" xmlns:a16="http://schemas.microsoft.com/office/drawing/2014/main" id="{E58E2554-3184-4936-91D2-B9C7BD92F476}"/>
              </a:ext>
            </a:extLst>
          </p:cNvPr>
          <p:cNvPicPr>
            <a:picLocks noChangeAspect="1"/>
          </p:cNvPicPr>
          <p:nvPr/>
        </p:nvPicPr>
        <p:blipFill>
          <a:blip r:embed="rId6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4428229" y="3279991"/>
            <a:ext cx="590903" cy="590903"/>
          </a:xfrm>
          <a:prstGeom prst="rect">
            <a:avLst/>
          </a:prstGeom>
        </p:spPr>
      </p:pic>
      <p:pic>
        <p:nvPicPr>
          <p:cNvPr id="77" name="Graphic 399">
            <a:extLst>
              <a:ext uri="{FF2B5EF4-FFF2-40B4-BE49-F238E27FC236}">
                <a16:creationId xmlns="" xmlns:a16="http://schemas.microsoft.com/office/drawing/2014/main" id="{2BBD243A-3E5C-4B93-A390-C4C1BAAD23F2}"/>
              </a:ext>
            </a:extLst>
          </p:cNvPr>
          <p:cNvPicPr>
            <a:picLocks noChangeAspect="1"/>
          </p:cNvPicPr>
          <p:nvPr/>
        </p:nvPicPr>
        <p:blipFill>
          <a:blip r:embed="rId67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121"/>
              </a:ext>
            </a:extLst>
          </a:blip>
          <a:stretch>
            <a:fillRect/>
          </a:stretch>
        </p:blipFill>
        <p:spPr>
          <a:xfrm>
            <a:off x="860885" y="5297958"/>
            <a:ext cx="723460" cy="635471"/>
          </a:xfrm>
          <a:prstGeom prst="rect">
            <a:avLst/>
          </a:prstGeom>
        </p:spPr>
      </p:pic>
      <p:pic>
        <p:nvPicPr>
          <p:cNvPr id="78" name="Graphic 355">
            <a:extLst>
              <a:ext uri="{FF2B5EF4-FFF2-40B4-BE49-F238E27FC236}">
                <a16:creationId xmlns="" xmlns:a16="http://schemas.microsoft.com/office/drawing/2014/main" id="{BC234BF8-BB08-45D0-96C9-03B9F5F8906B}"/>
              </a:ext>
            </a:extLst>
          </p:cNvPr>
          <p:cNvPicPr>
            <a:picLocks noChangeAspect="1"/>
          </p:cNvPicPr>
          <p:nvPr/>
        </p:nvPicPr>
        <p:blipFill>
          <a:blip r:embed="rId122">
            <a:duotone>
              <a:prstClr val="black"/>
              <a:srgbClr val="FBBA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3">
                    <a14:imgEffect>
                      <a14:brightnessContrast bright="25000" contrast="2000"/>
                    </a14:imgEffect>
                  </a14:imgLayer>
                </a14:imgProps>
              </a:ext>
              <a:ext uri="{96DAC541-7B7A-43D3-8B79-37D633B846F1}">
                <asvg:svgBlip xmlns="" xmlns:asvg="http://schemas.microsoft.com/office/drawing/2016/SVG/main" r:embed="rId79"/>
              </a:ext>
            </a:extLst>
          </a:blip>
          <a:stretch>
            <a:fillRect/>
          </a:stretch>
        </p:blipFill>
        <p:spPr>
          <a:xfrm>
            <a:off x="4342055" y="1268591"/>
            <a:ext cx="677077" cy="677077"/>
          </a:xfrm>
          <a:prstGeom prst="rect">
            <a:avLst/>
          </a:prstGeom>
        </p:spPr>
      </p:pic>
      <p:sp>
        <p:nvSpPr>
          <p:cNvPr id="79" name="Скругленный прямоугольник 79">
            <a:extLst>
              <a:ext uri="{FF2B5EF4-FFF2-40B4-BE49-F238E27FC236}">
                <a16:creationId xmlns="" xmlns:a16="http://schemas.microsoft.com/office/drawing/2014/main" id="{BCCC07EE-19E1-4F49-8D5D-42834BB389CA}"/>
              </a:ext>
            </a:extLst>
          </p:cNvPr>
          <p:cNvSpPr>
            <a:spLocks/>
          </p:cNvSpPr>
          <p:nvPr/>
        </p:nvSpPr>
        <p:spPr>
          <a:xfrm>
            <a:off x="7953361" y="1630943"/>
            <a:ext cx="4016259" cy="2981314"/>
          </a:xfrm>
          <a:prstGeom prst="roundRect">
            <a:avLst>
              <a:gd name="adj" fmla="val 12714"/>
            </a:avLst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19000">
                <a:schemeClr val="accent5">
                  <a:lumMod val="40000"/>
                  <a:lumOff val="60000"/>
                </a:schemeClr>
              </a:gs>
              <a:gs pos="100000">
                <a:schemeClr val="tx2"/>
              </a:gs>
            </a:gsLst>
            <a:lin ang="13500000" scaled="1"/>
          </a:gra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9" tIns="48385" rIns="96769" bIns="483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5738" algn="ctr">
              <a:lnSpc>
                <a:spcPct val="100000"/>
              </a:lnSpc>
              <a:spcBef>
                <a:spcPts val="0"/>
              </a:spcBef>
            </a:pPr>
            <a:r>
              <a:rPr lang="ru-RU" sz="1800" b="1" dirty="0" smtClean="0">
                <a:solidFill>
                  <a:srgbClr val="ECF3FA"/>
                </a:solidFill>
              </a:rPr>
              <a:t>Методические и иные материалы, необходимые для проведения работ, направляются Управлением Росреестра по Московской области в адрес Правительства Московской области на постоянной основе</a:t>
            </a:r>
            <a:endParaRPr lang="ru-RU" sz="1800" b="1" dirty="0">
              <a:solidFill>
                <a:srgbClr val="ECF3FA"/>
              </a:solidFill>
            </a:endParaRPr>
          </a:p>
        </p:txBody>
      </p:sp>
      <p:pic>
        <p:nvPicPr>
          <p:cNvPr id="81" name="Graphic 379">
            <a:extLst>
              <a:ext uri="{FF2B5EF4-FFF2-40B4-BE49-F238E27FC236}">
                <a16:creationId xmlns="" xmlns:a16="http://schemas.microsoft.com/office/drawing/2014/main" id="{051B9ED7-7523-4AAC-8556-B220DBFE6658}"/>
              </a:ext>
            </a:extLst>
          </p:cNvPr>
          <p:cNvPicPr>
            <a:picLocks noChangeAspect="1"/>
          </p:cNvPicPr>
          <p:nvPr/>
        </p:nvPicPr>
        <p:blipFill>
          <a:blip r:embed="rId124">
            <a:extLst>
              <a:ext uri="{96DAC541-7B7A-43D3-8B79-37D633B846F1}">
                <asvg:svgBlip xmlns=""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9679062" y="4817486"/>
            <a:ext cx="564855" cy="562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14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1229975" cy="838199"/>
          </a:xfrm>
        </p:spPr>
        <p:txBody>
          <a:bodyPr>
            <a:noAutofit/>
          </a:bodyPr>
          <a:lstStyle/>
          <a:p>
            <a:pPr algn="ctr"/>
            <a:r>
              <a:rPr lang="ru-RU" sz="2400" spc="365" dirty="0" smtClean="0">
                <a:solidFill>
                  <a:schemeClr val="tx2">
                    <a:lumMod val="50000"/>
                  </a:schemeClr>
                </a:solidFill>
              </a:rPr>
              <a:t>Направления реализации 518-ФЗ</a:t>
            </a:r>
            <a:endParaRPr lang="ru-RU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Slide Number Placeholder 6">
            <a:extLst>
              <a:ext uri="{FF2B5EF4-FFF2-40B4-BE49-F238E27FC236}">
                <a16:creationId xmlns=""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</a:rPr>
              <a:pPr>
                <a:defRPr/>
              </a:pPr>
              <a:t>3</a:t>
            </a:fld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Arial"/>
            </a:endParaRPr>
          </a:p>
        </p:txBody>
      </p:sp>
      <p:grpSp>
        <p:nvGrpSpPr>
          <p:cNvPr id="35" name="object 6"/>
          <p:cNvGrpSpPr/>
          <p:nvPr/>
        </p:nvGrpSpPr>
        <p:grpSpPr>
          <a:xfrm>
            <a:off x="801799" y="1648474"/>
            <a:ext cx="10259138" cy="3697032"/>
            <a:chOff x="-600314" y="2973359"/>
            <a:chExt cx="8218740" cy="2032200"/>
          </a:xfrm>
        </p:grpSpPr>
        <p:sp>
          <p:nvSpPr>
            <p:cNvPr id="37" name="object 7"/>
            <p:cNvSpPr/>
            <p:nvPr/>
          </p:nvSpPr>
          <p:spPr>
            <a:xfrm>
              <a:off x="5429635" y="3613761"/>
              <a:ext cx="296342" cy="255296"/>
            </a:xfrm>
            <a:custGeom>
              <a:avLst/>
              <a:gdLst/>
              <a:ahLst/>
              <a:cxnLst/>
              <a:rect l="l" t="t" r="r" b="b"/>
              <a:pathLst>
                <a:path w="318770" h="551814">
                  <a:moveTo>
                    <a:pt x="0" y="0"/>
                  </a:moveTo>
                  <a:lnTo>
                    <a:pt x="318490" y="551637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8"/>
            <p:cNvSpPr/>
            <p:nvPr/>
          </p:nvSpPr>
          <p:spPr>
            <a:xfrm>
              <a:off x="5644062" y="3804841"/>
              <a:ext cx="81915" cy="67945"/>
            </a:xfrm>
            <a:custGeom>
              <a:avLst/>
              <a:gdLst/>
              <a:ahLst/>
              <a:cxnLst/>
              <a:rect l="l" t="t" r="r" b="b"/>
              <a:pathLst>
                <a:path w="81914" h="67945">
                  <a:moveTo>
                    <a:pt x="81914" y="0"/>
                  </a:moveTo>
                  <a:lnTo>
                    <a:pt x="66395" y="67691"/>
                  </a:lnTo>
                  <a:lnTo>
                    <a:pt x="0" y="47294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0"/>
            <p:cNvSpPr/>
            <p:nvPr/>
          </p:nvSpPr>
          <p:spPr>
            <a:xfrm>
              <a:off x="1036363" y="2973359"/>
              <a:ext cx="5185925" cy="637645"/>
            </a:xfrm>
            <a:custGeom>
              <a:avLst/>
              <a:gdLst/>
              <a:ahLst/>
              <a:cxnLst/>
              <a:rect l="l" t="t" r="r" b="b"/>
              <a:pathLst>
                <a:path w="5028565" h="87312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720496"/>
                  </a:lnTo>
                  <a:lnTo>
                    <a:pt x="7769" y="768669"/>
                  </a:lnTo>
                  <a:lnTo>
                    <a:pt x="29405" y="810505"/>
                  </a:lnTo>
                  <a:lnTo>
                    <a:pt x="62396" y="843494"/>
                  </a:lnTo>
                  <a:lnTo>
                    <a:pt x="104231" y="865127"/>
                  </a:lnTo>
                  <a:lnTo>
                    <a:pt x="152400" y="872896"/>
                  </a:lnTo>
                  <a:lnTo>
                    <a:pt x="4876152" y="872896"/>
                  </a:lnTo>
                  <a:lnTo>
                    <a:pt x="4924320" y="865127"/>
                  </a:lnTo>
                  <a:lnTo>
                    <a:pt x="4966155" y="843494"/>
                  </a:lnTo>
                  <a:lnTo>
                    <a:pt x="4999146" y="810505"/>
                  </a:lnTo>
                  <a:lnTo>
                    <a:pt x="5020782" y="768669"/>
                  </a:lnTo>
                  <a:lnTo>
                    <a:pt x="5028552" y="720496"/>
                  </a:lnTo>
                  <a:lnTo>
                    <a:pt x="5028552" y="152400"/>
                  </a:lnTo>
                  <a:lnTo>
                    <a:pt x="5020782" y="104231"/>
                  </a:lnTo>
                  <a:lnTo>
                    <a:pt x="4999146" y="62396"/>
                  </a:lnTo>
                  <a:lnTo>
                    <a:pt x="4966155" y="29405"/>
                  </a:lnTo>
                  <a:lnTo>
                    <a:pt x="4924320" y="7769"/>
                  </a:lnTo>
                  <a:lnTo>
                    <a:pt x="4876152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11"/>
            <p:cNvSpPr/>
            <p:nvPr/>
          </p:nvSpPr>
          <p:spPr>
            <a:xfrm>
              <a:off x="5041301" y="3874394"/>
              <a:ext cx="2577125" cy="1124382"/>
            </a:xfrm>
            <a:custGeom>
              <a:avLst/>
              <a:gdLst/>
              <a:ahLst/>
              <a:cxnLst/>
              <a:rect l="l" t="t" r="r" b="b"/>
              <a:pathLst>
                <a:path w="3047365" h="124269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1090218"/>
                  </a:lnTo>
                  <a:lnTo>
                    <a:pt x="7769" y="1138386"/>
                  </a:lnTo>
                  <a:lnTo>
                    <a:pt x="29405" y="1180221"/>
                  </a:lnTo>
                  <a:lnTo>
                    <a:pt x="62396" y="1213212"/>
                  </a:lnTo>
                  <a:lnTo>
                    <a:pt x="104231" y="1234848"/>
                  </a:lnTo>
                  <a:lnTo>
                    <a:pt x="152400" y="1242618"/>
                  </a:lnTo>
                  <a:lnTo>
                    <a:pt x="2894901" y="1242618"/>
                  </a:lnTo>
                  <a:lnTo>
                    <a:pt x="2943069" y="1234848"/>
                  </a:lnTo>
                  <a:lnTo>
                    <a:pt x="2984904" y="1213212"/>
                  </a:lnTo>
                  <a:lnTo>
                    <a:pt x="3017895" y="1180221"/>
                  </a:lnTo>
                  <a:lnTo>
                    <a:pt x="3039531" y="1138386"/>
                  </a:lnTo>
                  <a:lnTo>
                    <a:pt x="3047301" y="1090218"/>
                  </a:lnTo>
                  <a:lnTo>
                    <a:pt x="3047301" y="152400"/>
                  </a:lnTo>
                  <a:lnTo>
                    <a:pt x="3039531" y="104231"/>
                  </a:lnTo>
                  <a:lnTo>
                    <a:pt x="3017895" y="62396"/>
                  </a:lnTo>
                  <a:lnTo>
                    <a:pt x="2984904" y="29405"/>
                  </a:lnTo>
                  <a:lnTo>
                    <a:pt x="2943069" y="7769"/>
                  </a:lnTo>
                  <a:lnTo>
                    <a:pt x="2894901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2"/>
            <p:cNvSpPr/>
            <p:nvPr/>
          </p:nvSpPr>
          <p:spPr>
            <a:xfrm>
              <a:off x="-600314" y="3874624"/>
              <a:ext cx="2577125" cy="1130935"/>
            </a:xfrm>
            <a:custGeom>
              <a:avLst/>
              <a:gdLst/>
              <a:ahLst/>
              <a:cxnLst/>
              <a:rect l="l" t="t" r="r" b="b"/>
              <a:pathLst>
                <a:path w="3047365" h="113093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978001"/>
                  </a:lnTo>
                  <a:lnTo>
                    <a:pt x="7769" y="1026174"/>
                  </a:lnTo>
                  <a:lnTo>
                    <a:pt x="29405" y="1068010"/>
                  </a:lnTo>
                  <a:lnTo>
                    <a:pt x="62396" y="1100999"/>
                  </a:lnTo>
                  <a:lnTo>
                    <a:pt x="104231" y="1122632"/>
                  </a:lnTo>
                  <a:lnTo>
                    <a:pt x="152400" y="1130401"/>
                  </a:lnTo>
                  <a:lnTo>
                    <a:pt x="2894901" y="1130401"/>
                  </a:lnTo>
                  <a:lnTo>
                    <a:pt x="2943069" y="1122632"/>
                  </a:lnTo>
                  <a:lnTo>
                    <a:pt x="2984904" y="1100999"/>
                  </a:lnTo>
                  <a:lnTo>
                    <a:pt x="3017895" y="1068010"/>
                  </a:lnTo>
                  <a:lnTo>
                    <a:pt x="3039531" y="1026174"/>
                  </a:lnTo>
                  <a:lnTo>
                    <a:pt x="3047301" y="978001"/>
                  </a:lnTo>
                  <a:lnTo>
                    <a:pt x="3047301" y="152400"/>
                  </a:lnTo>
                  <a:lnTo>
                    <a:pt x="3039531" y="104231"/>
                  </a:lnTo>
                  <a:lnTo>
                    <a:pt x="3017895" y="62396"/>
                  </a:lnTo>
                  <a:lnTo>
                    <a:pt x="2984904" y="29405"/>
                  </a:lnTo>
                  <a:lnTo>
                    <a:pt x="2943069" y="7769"/>
                  </a:lnTo>
                  <a:lnTo>
                    <a:pt x="2894901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9" name="object 18"/>
          <p:cNvGrpSpPr/>
          <p:nvPr/>
        </p:nvGrpSpPr>
        <p:grpSpPr>
          <a:xfrm>
            <a:off x="3704591" y="2802474"/>
            <a:ext cx="417686" cy="476451"/>
            <a:chOff x="1122188" y="3602493"/>
            <a:chExt cx="334289" cy="551888"/>
          </a:xfrm>
        </p:grpSpPr>
        <p:sp>
          <p:nvSpPr>
            <p:cNvPr id="50" name="object 19"/>
            <p:cNvSpPr/>
            <p:nvPr/>
          </p:nvSpPr>
          <p:spPr>
            <a:xfrm>
              <a:off x="1137707" y="3602493"/>
              <a:ext cx="318770" cy="551815"/>
            </a:xfrm>
            <a:custGeom>
              <a:avLst/>
              <a:gdLst/>
              <a:ahLst/>
              <a:cxnLst/>
              <a:rect l="l" t="t" r="r" b="b"/>
              <a:pathLst>
                <a:path w="318769" h="551814">
                  <a:moveTo>
                    <a:pt x="318490" y="0"/>
                  </a:moveTo>
                  <a:lnTo>
                    <a:pt x="0" y="551637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20"/>
            <p:cNvSpPr/>
            <p:nvPr/>
          </p:nvSpPr>
          <p:spPr>
            <a:xfrm>
              <a:off x="1122188" y="4086436"/>
              <a:ext cx="81915" cy="67945"/>
            </a:xfrm>
            <a:custGeom>
              <a:avLst/>
              <a:gdLst/>
              <a:ahLst/>
              <a:cxnLst/>
              <a:rect l="l" t="t" r="r" b="b"/>
              <a:pathLst>
                <a:path w="81915" h="67945">
                  <a:moveTo>
                    <a:pt x="0" y="0"/>
                  </a:moveTo>
                  <a:lnTo>
                    <a:pt x="15519" y="67691"/>
                  </a:lnTo>
                  <a:lnTo>
                    <a:pt x="81915" y="47294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16"/>
          <p:cNvSpPr txBox="1"/>
          <p:nvPr/>
        </p:nvSpPr>
        <p:spPr>
          <a:xfrm>
            <a:off x="4455107" y="3596736"/>
            <a:ext cx="2952520" cy="13978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Снятие 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с государственного кадастрового учета на основании 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Акта осмотра</a:t>
            </a:r>
            <a:endParaRPr sz="1800" b="1" dirty="0">
              <a:latin typeface="Tahoma"/>
              <a:cs typeface="Tahoma"/>
            </a:endParaRPr>
          </a:p>
        </p:txBody>
      </p:sp>
      <p:sp>
        <p:nvSpPr>
          <p:cNvPr id="25" name="object 15"/>
          <p:cNvSpPr txBox="1"/>
          <p:nvPr/>
        </p:nvSpPr>
        <p:spPr>
          <a:xfrm>
            <a:off x="801799" y="3735236"/>
            <a:ext cx="3216925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Выявление правообладателей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и внесение сведений 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в ЕГРН</a:t>
            </a:r>
            <a:endParaRPr sz="1800" b="1" dirty="0">
              <a:latin typeface="Tahoma"/>
              <a:cs typeface="Tahoma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06374" y="2011501"/>
            <a:ext cx="3519015" cy="433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ctr">
              <a:lnSpc>
                <a:spcPct val="111100"/>
              </a:lnSpc>
              <a:spcBef>
                <a:spcPts val="100"/>
              </a:spcBef>
            </a:pPr>
            <a:r>
              <a:rPr lang="ru-RU" sz="2000" b="1" spc="70" dirty="0" smtClean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РЕЗУЛЬТАТ АНАЛИЗА</a:t>
            </a:r>
            <a:endParaRPr lang="ru-RU" sz="2000" b="1" dirty="0">
              <a:solidFill>
                <a:schemeClr val="accent1">
                  <a:lumMod val="75000"/>
                </a:schemeClr>
              </a:solidFill>
              <a:latin typeface="Tahoma"/>
              <a:cs typeface="Tahoma"/>
            </a:endParaRPr>
          </a:p>
        </p:txBody>
      </p:sp>
      <p:sp>
        <p:nvSpPr>
          <p:cNvPr id="21" name="object 12"/>
          <p:cNvSpPr/>
          <p:nvPr/>
        </p:nvSpPr>
        <p:spPr>
          <a:xfrm>
            <a:off x="4322904" y="3275738"/>
            <a:ext cx="3216926" cy="2057427"/>
          </a:xfrm>
          <a:custGeom>
            <a:avLst/>
            <a:gdLst/>
            <a:ahLst/>
            <a:cxnLst/>
            <a:rect l="l" t="t" r="r" b="b"/>
            <a:pathLst>
              <a:path w="3047365" h="1130935">
                <a:moveTo>
                  <a:pt x="152400" y="0"/>
                </a:moveTo>
                <a:lnTo>
                  <a:pt x="104231" y="7769"/>
                </a:lnTo>
                <a:lnTo>
                  <a:pt x="62396" y="29405"/>
                </a:lnTo>
                <a:lnTo>
                  <a:pt x="29405" y="62396"/>
                </a:lnTo>
                <a:lnTo>
                  <a:pt x="7769" y="104231"/>
                </a:lnTo>
                <a:lnTo>
                  <a:pt x="0" y="152400"/>
                </a:lnTo>
                <a:lnTo>
                  <a:pt x="0" y="978001"/>
                </a:lnTo>
                <a:lnTo>
                  <a:pt x="7769" y="1026174"/>
                </a:lnTo>
                <a:lnTo>
                  <a:pt x="29405" y="1068010"/>
                </a:lnTo>
                <a:lnTo>
                  <a:pt x="62396" y="1100999"/>
                </a:lnTo>
                <a:lnTo>
                  <a:pt x="104231" y="1122632"/>
                </a:lnTo>
                <a:lnTo>
                  <a:pt x="152400" y="1130401"/>
                </a:lnTo>
                <a:lnTo>
                  <a:pt x="2894901" y="1130401"/>
                </a:lnTo>
                <a:lnTo>
                  <a:pt x="2943069" y="1122632"/>
                </a:lnTo>
                <a:lnTo>
                  <a:pt x="2984904" y="1100999"/>
                </a:lnTo>
                <a:lnTo>
                  <a:pt x="3017895" y="1068010"/>
                </a:lnTo>
                <a:lnTo>
                  <a:pt x="3039531" y="1026174"/>
                </a:lnTo>
                <a:lnTo>
                  <a:pt x="3047301" y="978001"/>
                </a:lnTo>
                <a:lnTo>
                  <a:pt x="3047301" y="152400"/>
                </a:lnTo>
                <a:lnTo>
                  <a:pt x="3039531" y="104231"/>
                </a:lnTo>
                <a:lnTo>
                  <a:pt x="3017895" y="62396"/>
                </a:lnTo>
                <a:lnTo>
                  <a:pt x="2984904" y="29405"/>
                </a:lnTo>
                <a:lnTo>
                  <a:pt x="2943069" y="7769"/>
                </a:lnTo>
                <a:lnTo>
                  <a:pt x="2894901" y="0"/>
                </a:lnTo>
                <a:lnTo>
                  <a:pt x="152400" y="0"/>
                </a:lnTo>
                <a:close/>
              </a:path>
            </a:pathLst>
          </a:custGeom>
          <a:ln w="12700">
            <a:solidFill>
              <a:srgbClr val="008C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15"/>
          <p:cNvSpPr txBox="1"/>
          <p:nvPr/>
        </p:nvSpPr>
        <p:spPr>
          <a:xfrm>
            <a:off x="7844009" y="3744041"/>
            <a:ext cx="3216925" cy="11208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Выявление «дублей»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и снятие </a:t>
            </a:r>
            <a:b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</a:br>
            <a:r>
              <a:rPr lang="ru-RU" sz="1800" b="1" spc="185" dirty="0" smtClean="0">
                <a:solidFill>
                  <a:srgbClr val="008CFF"/>
                </a:solidFill>
                <a:latin typeface="Tahoma"/>
                <a:cs typeface="Tahoma"/>
              </a:rPr>
              <a:t>с государственного кадастрового учета</a:t>
            </a:r>
            <a:endParaRPr sz="1800" b="1" dirty="0">
              <a:latin typeface="Tahoma"/>
              <a:cs typeface="Tahoma"/>
            </a:endParaRPr>
          </a:p>
        </p:txBody>
      </p:sp>
      <p:grpSp>
        <p:nvGrpSpPr>
          <p:cNvPr id="23" name="object 18"/>
          <p:cNvGrpSpPr/>
          <p:nvPr/>
        </p:nvGrpSpPr>
        <p:grpSpPr>
          <a:xfrm rot="19256004">
            <a:off x="5809990" y="2869029"/>
            <a:ext cx="300968" cy="351719"/>
            <a:chOff x="1122188" y="3602493"/>
            <a:chExt cx="334289" cy="551888"/>
          </a:xfrm>
        </p:grpSpPr>
        <p:sp>
          <p:nvSpPr>
            <p:cNvPr id="31" name="object 19"/>
            <p:cNvSpPr/>
            <p:nvPr/>
          </p:nvSpPr>
          <p:spPr>
            <a:xfrm>
              <a:off x="1137707" y="3602493"/>
              <a:ext cx="318770" cy="551815"/>
            </a:xfrm>
            <a:custGeom>
              <a:avLst/>
              <a:gdLst/>
              <a:ahLst/>
              <a:cxnLst/>
              <a:rect l="l" t="t" r="r" b="b"/>
              <a:pathLst>
                <a:path w="318769" h="551814">
                  <a:moveTo>
                    <a:pt x="318490" y="0"/>
                  </a:moveTo>
                  <a:lnTo>
                    <a:pt x="0" y="551637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0"/>
            <p:cNvSpPr/>
            <p:nvPr/>
          </p:nvSpPr>
          <p:spPr>
            <a:xfrm>
              <a:off x="1122188" y="4086436"/>
              <a:ext cx="81915" cy="67945"/>
            </a:xfrm>
            <a:custGeom>
              <a:avLst/>
              <a:gdLst/>
              <a:ahLst/>
              <a:cxnLst/>
              <a:rect l="l" t="t" r="r" b="b"/>
              <a:pathLst>
                <a:path w="81915" h="67945">
                  <a:moveTo>
                    <a:pt x="0" y="0"/>
                  </a:moveTo>
                  <a:lnTo>
                    <a:pt x="15519" y="67691"/>
                  </a:lnTo>
                  <a:lnTo>
                    <a:pt x="81915" y="47294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3" name="Graphic 62">
            <a:extLst>
              <a:ext uri="{FF2B5EF4-FFF2-40B4-BE49-F238E27FC236}">
                <a16:creationId xmlns:a16="http://schemas.microsoft.com/office/drawing/2014/main" xmlns="" xmlns:lc="http://schemas.openxmlformats.org/drawingml/2006/lockedCanvas" id="{FBB65711-AFF5-4A29-BD5E-16C4DE2BB2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57"/>
              </a:ext>
            </a:extLst>
          </a:blip>
          <a:stretch>
            <a:fillRect/>
          </a:stretch>
        </p:blipFill>
        <p:spPr>
          <a:xfrm>
            <a:off x="10072718" y="1391462"/>
            <a:ext cx="988216" cy="998619"/>
          </a:xfrm>
          <a:prstGeom prst="rect">
            <a:avLst/>
          </a:prstGeom>
        </p:spPr>
      </p:pic>
      <p:pic>
        <p:nvPicPr>
          <p:cNvPr id="34" name="Graphic 62">
            <a:extLst>
              <a:ext uri="{FF2B5EF4-FFF2-40B4-BE49-F238E27FC236}">
                <a16:creationId xmlns:a16="http://schemas.microsoft.com/office/drawing/2014/main" xmlns="" xmlns:lc="http://schemas.openxmlformats.org/drawingml/2006/lockedCanvas" id="{FBB65711-AFF5-4A29-BD5E-16C4DE2BB2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57"/>
              </a:ext>
            </a:extLst>
          </a:blip>
          <a:stretch>
            <a:fillRect/>
          </a:stretch>
        </p:blipFill>
        <p:spPr>
          <a:xfrm>
            <a:off x="801799" y="1391463"/>
            <a:ext cx="988216" cy="998619"/>
          </a:xfrm>
          <a:prstGeom prst="rect">
            <a:avLst/>
          </a:prstGeom>
        </p:spPr>
      </p:pic>
      <p:pic>
        <p:nvPicPr>
          <p:cNvPr id="36" name="Graphic 34">
            <a:extLst>
              <a:ext uri="{FF2B5EF4-FFF2-40B4-BE49-F238E27FC236}">
                <a16:creationId xmlns:a16="http://schemas.microsoft.com/office/drawing/2014/main" xmlns="" xmlns:lc="http://schemas.openxmlformats.org/drawingml/2006/lockedCanvas" id="{269EE159-1A8D-4B1E-BC4D-20F5A0AED815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91"/>
              </a:ext>
            </a:extLst>
          </a:blip>
          <a:stretch>
            <a:fillRect/>
          </a:stretch>
        </p:blipFill>
        <p:spPr>
          <a:xfrm>
            <a:off x="1982905" y="5468297"/>
            <a:ext cx="854712" cy="1108683"/>
          </a:xfrm>
          <a:prstGeom prst="rect">
            <a:avLst/>
          </a:prstGeom>
        </p:spPr>
      </p:pic>
      <p:pic>
        <p:nvPicPr>
          <p:cNvPr id="39" name="Graphic 90">
            <a:extLst>
              <a:ext uri="{FF2B5EF4-FFF2-40B4-BE49-F238E27FC236}">
                <a16:creationId xmlns:a16="http://schemas.microsoft.com/office/drawing/2014/main" xmlns="" xmlns:lc="http://schemas.openxmlformats.org/drawingml/2006/lockedCanvas" id="{18ED1099-F49C-465A-B0A7-526357BD54A2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121"/>
              </a:ext>
            </a:extLst>
          </a:blip>
          <a:stretch>
            <a:fillRect/>
          </a:stretch>
        </p:blipFill>
        <p:spPr>
          <a:xfrm>
            <a:off x="5541361" y="5468297"/>
            <a:ext cx="849043" cy="1108774"/>
          </a:xfrm>
          <a:prstGeom prst="rect">
            <a:avLst/>
          </a:prstGeom>
        </p:spPr>
      </p:pic>
      <p:pic>
        <p:nvPicPr>
          <p:cNvPr id="43" name="Graphic 26">
            <a:extLst>
              <a:ext uri="{FF2B5EF4-FFF2-40B4-BE49-F238E27FC236}">
                <a16:creationId xmlns:a16="http://schemas.microsoft.com/office/drawing/2014/main" xmlns="" xmlns:lc="http://schemas.openxmlformats.org/drawingml/2006/lockedCanvas" id="{163CC240-5131-4FBE-96CF-2D53332A649F}"/>
              </a:ext>
            </a:extLst>
          </p:cNvPr>
          <p:cNvPicPr>
            <a:picLocks noChangeAspect="1"/>
          </p:cNvPicPr>
          <p:nvPr/>
        </p:nvPicPr>
        <p:blipFill>
          <a:blip r:embed="rId122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87"/>
              </a:ext>
            </a:extLst>
          </a:blip>
          <a:stretch>
            <a:fillRect/>
          </a:stretch>
        </p:blipFill>
        <p:spPr>
          <a:xfrm>
            <a:off x="9094148" y="5468298"/>
            <a:ext cx="993574" cy="1108682"/>
          </a:xfrm>
          <a:prstGeom prst="rect">
            <a:avLst/>
          </a:prstGeom>
        </p:spPr>
      </p:pic>
      <p:pic>
        <p:nvPicPr>
          <p:cNvPr id="44" name="Graphic 86">
            <a:extLst>
              <a:ext uri="{FF2B5EF4-FFF2-40B4-BE49-F238E27FC236}">
                <a16:creationId xmlns:a16="http://schemas.microsoft.com/office/drawing/2014/main" xmlns="" xmlns:lc="http://schemas.openxmlformats.org/drawingml/2006/lockedCanvas" id="{C7E895DB-F5BF-499F-AD0A-9E0AE9F13CED}"/>
              </a:ext>
            </a:extLst>
          </p:cNvPr>
          <p:cNvPicPr>
            <a:picLocks noChangeAspect="1"/>
          </p:cNvPicPr>
          <p:nvPr/>
        </p:nvPicPr>
        <p:blipFill>
          <a:blip r:embed="rId123">
            <a:extLst>
              <a:ext uri="{96DAC541-7B7A-43D3-8B79-37D633B846F1}">
                <asvg:svgBlip xmlns="" xmlns:asvg="http://schemas.microsoft.com/office/drawing/2016/SVG/main" xmlns:lc="http://schemas.openxmlformats.org/drawingml/2006/lockedCanvas" r:embed="rId117"/>
              </a:ext>
            </a:extLst>
          </a:blip>
          <a:stretch>
            <a:fillRect/>
          </a:stretch>
        </p:blipFill>
        <p:spPr>
          <a:xfrm>
            <a:off x="5157760" y="872418"/>
            <a:ext cx="1847467" cy="741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05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lide Number Placeholder 6">
            <a:extLst>
              <a:ext uri="{FF2B5EF4-FFF2-40B4-BE49-F238E27FC236}">
                <a16:creationId xmlns=""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</a:rPr>
              <a:pPr>
                <a:defRPr/>
              </a:pPr>
              <a:t>4</a:t>
            </a:fld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</a:rPr>
              <a:t>                      Федеральный закон № 397-ФЗ от 31.07.2023</a:t>
            </a:r>
            <a:br>
              <a:rPr lang="ru-RU" sz="24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</a:rPr>
              <a:t>                              «Выявление правообладателей 2.0»</a:t>
            </a:r>
            <a:endParaRPr lang="ru-RU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8" name="Rectangle: Rounded Corners 23">
            <a:extLst>
              <a:ext uri="{FF2B5EF4-FFF2-40B4-BE49-F238E27FC236}">
                <a16:creationId xmlns="" xmlns:a16="http://schemas.microsoft.com/office/drawing/2014/main" id="{2B6F3F10-1E9D-466F-8376-E0A1F8698ED9}"/>
              </a:ext>
            </a:extLst>
          </p:cNvPr>
          <p:cNvSpPr/>
          <p:nvPr/>
        </p:nvSpPr>
        <p:spPr>
          <a:xfrm>
            <a:off x="426614" y="1709517"/>
            <a:ext cx="5261829" cy="5009058"/>
          </a:xfrm>
          <a:prstGeom prst="roundRect">
            <a:avLst>
              <a:gd name="adj" fmla="val 7786"/>
            </a:avLst>
          </a:prstGeom>
          <a:solidFill>
            <a:schemeClr val="accent6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79">
            <a:extLst>
              <a:ext uri="{FF2B5EF4-FFF2-40B4-BE49-F238E27FC236}">
                <a16:creationId xmlns="" xmlns:a16="http://schemas.microsoft.com/office/drawing/2014/main" id="{BCCC07EE-19E1-4F49-8D5D-42834BB389CA}"/>
              </a:ext>
            </a:extLst>
          </p:cNvPr>
          <p:cNvSpPr>
            <a:spLocks/>
          </p:cNvSpPr>
          <p:nvPr/>
        </p:nvSpPr>
        <p:spPr>
          <a:xfrm>
            <a:off x="3709846" y="828571"/>
            <a:ext cx="5448129" cy="784209"/>
          </a:xfrm>
          <a:prstGeom prst="roundRect">
            <a:avLst>
              <a:gd name="adj" fmla="val 12714"/>
            </a:avLst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69" tIns="48385" rIns="96769" bIns="4838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5738">
              <a:lnSpc>
                <a:spcPct val="100000"/>
              </a:lnSpc>
              <a:spcBef>
                <a:spcPts val="0"/>
              </a:spcBef>
            </a:pPr>
            <a:endParaRPr lang="ru-RU" sz="2800" b="1" dirty="0">
              <a:solidFill>
                <a:schemeClr val="bg2"/>
              </a:solidFill>
            </a:endParaRPr>
          </a:p>
        </p:txBody>
      </p:sp>
      <p:sp>
        <p:nvSpPr>
          <p:cNvPr id="40" name="Rectangle: Rounded Corners 4">
            <a:extLst>
              <a:ext uri="{FF2B5EF4-FFF2-40B4-BE49-F238E27FC236}">
                <a16:creationId xmlns="" xmlns:a16="http://schemas.microsoft.com/office/drawing/2014/main" id="{57B2EF36-C2F1-2F4C-9AA0-26B3DAB9BC06}"/>
              </a:ext>
            </a:extLst>
          </p:cNvPr>
          <p:cNvSpPr/>
          <p:nvPr/>
        </p:nvSpPr>
        <p:spPr>
          <a:xfrm>
            <a:off x="6108255" y="1709517"/>
            <a:ext cx="5447075" cy="5009058"/>
          </a:xfrm>
          <a:prstGeom prst="roundRect">
            <a:avLst>
              <a:gd name="adj" fmla="val 7786"/>
            </a:avLst>
          </a:prstGeom>
          <a:solidFill>
            <a:schemeClr val="accent6">
              <a:lumMod val="20000"/>
              <a:lumOff val="80000"/>
            </a:schemeClr>
          </a:solidFill>
          <a:ln w="254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сокращение сроков принятия решения о выявлении правообладателя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с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45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до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30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дней, а в случае поступления согласия правообладателя – до 5 рабочих дней;</a:t>
            </a:r>
            <a:endParaRPr lang="ru-RU" sz="1500" dirty="0">
              <a:solidFill>
                <a:schemeClr val="tx2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расширение перечня объектов, по которым органы публичной власти могут выявлять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правообладателей;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расширение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круга выявляемых лиц, по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которым органы публичной власти могут выявлять правообладателей;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упрощение процедуры постановки на учет бесхозяйных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вещей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в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озможность снятия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с кадастрового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учета:</a:t>
            </a:r>
          </a:p>
          <a:p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      - объектов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, прекративших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существование вследствие стихийных бедствий, чрезвычайных ситуаций,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по акту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осмотра;</a:t>
            </a:r>
          </a:p>
          <a:p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     -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земельных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участков, не обремененных </a:t>
            </a:r>
            <a:r>
              <a:rPr lang="ru-RU" sz="1500" dirty="0">
                <a:solidFill>
                  <a:schemeClr val="tx2">
                    <a:lumMod val="50000"/>
                  </a:schemeClr>
                </a:solidFill>
              </a:rPr>
              <a:t>правами третьих лиц, </a:t>
            </a:r>
            <a:r>
              <a:rPr lang="ru-RU" sz="1500" dirty="0" smtClean="0">
                <a:solidFill>
                  <a:schemeClr val="tx2">
                    <a:lumMod val="50000"/>
                  </a:schemeClr>
                </a:solidFill>
              </a:rPr>
              <a:t>при отсутствии решений об их образовании</a:t>
            </a:r>
          </a:p>
          <a:p>
            <a:endParaRPr lang="ru-RU" sz="1500" dirty="0">
              <a:solidFill>
                <a:schemeClr val="tx2">
                  <a:lumMod val="50000"/>
                </a:schemeClr>
              </a:solidFill>
            </a:endParaRPr>
          </a:p>
          <a:p>
            <a:endParaRPr lang="ru-RU" sz="15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6BF106D9-3598-4045-8778-A635CFD244EF}"/>
              </a:ext>
            </a:extLst>
          </p:cNvPr>
          <p:cNvSpPr/>
          <p:nvPr/>
        </p:nvSpPr>
        <p:spPr>
          <a:xfrm>
            <a:off x="6997543" y="2349783"/>
            <a:ext cx="46048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28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Graphic 363">
            <a:extLst>
              <a:ext uri="{FF2B5EF4-FFF2-40B4-BE49-F238E27FC236}">
                <a16:creationId xmlns="" xmlns:a16="http://schemas.microsoft.com/office/drawing/2014/main" id="{67EA72EA-4705-194B-AA72-F0CBD5C185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33353" y="934951"/>
            <a:ext cx="796705" cy="620076"/>
          </a:xfrm>
          <a:prstGeom prst="rect">
            <a:avLst/>
          </a:prstGeom>
          <a:effectLst/>
        </p:spPr>
      </p:pic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91BF1E6-7BAF-48DF-92D9-1D129F1376F0}"/>
              </a:ext>
            </a:extLst>
          </p:cNvPr>
          <p:cNvSpPr txBox="1"/>
          <p:nvPr/>
        </p:nvSpPr>
        <p:spPr>
          <a:xfrm>
            <a:off x="4600312" y="1095411"/>
            <a:ext cx="46447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8">
              <a:lnSpc>
                <a:spcPct val="10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chemeClr val="bg2"/>
                </a:solidFill>
              </a:rPr>
              <a:t>         Суть закона</a:t>
            </a:r>
            <a:endParaRPr lang="ru-RU" sz="2400" b="1" dirty="0">
              <a:solidFill>
                <a:schemeClr val="bg2"/>
              </a:solidFill>
            </a:endParaRPr>
          </a:p>
        </p:txBody>
      </p:sp>
      <p:pic>
        <p:nvPicPr>
          <p:cNvPr id="46" name="Graphic 269">
            <a:extLst>
              <a:ext uri="{FF2B5EF4-FFF2-40B4-BE49-F238E27FC236}">
                <a16:creationId xmlns="" xmlns:a16="http://schemas.microsoft.com/office/drawing/2014/main" id="{25687CC4-8780-417F-92E5-FF9B41BBAD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43401" y="5903358"/>
            <a:ext cx="776782" cy="716760"/>
          </a:xfrm>
          <a:prstGeom prst="rect">
            <a:avLst/>
          </a:prstGeom>
          <a:effectLst/>
        </p:spPr>
      </p:pic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1A9757A4-3573-42B6-84CF-68B2505112D8}"/>
              </a:ext>
            </a:extLst>
          </p:cNvPr>
          <p:cNvSpPr txBox="1"/>
          <p:nvPr/>
        </p:nvSpPr>
        <p:spPr>
          <a:xfrm>
            <a:off x="809805" y="2300566"/>
            <a:ext cx="470560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00">
              <a:defRPr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Вносит изменения в Федеральный закон </a:t>
            </a:r>
            <a:b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от 13.07.2015 № 218-ФЗ </a:t>
            </a:r>
            <a:b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«О государственной регистрации недвижимости» </a:t>
            </a:r>
            <a:b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и статью 6 Федерального закона </a:t>
            </a:r>
            <a:b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от 30.12.2020 № 518-ФЗ </a:t>
            </a:r>
            <a:b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«О внесении изменений в отдельные законодательные акты Российской Федерации»</a:t>
            </a:r>
            <a:endParaRPr lang="ru-RU" sz="1600" kern="1200" dirty="0">
              <a:solidFill>
                <a:schemeClr val="accent1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47" name="Graphic 37">
            <a:extLst>
              <a:ext uri="{FF2B5EF4-FFF2-40B4-BE49-F238E27FC236}">
                <a16:creationId xmlns="" xmlns:a16="http://schemas.microsoft.com/office/drawing/2014/main" id="{46A1200E-1A9F-4E75-A677-3FF20BD6569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50122" y="3139606"/>
            <a:ext cx="217717" cy="225139"/>
          </a:xfrm>
          <a:prstGeom prst="rect">
            <a:avLst/>
          </a:prstGeom>
        </p:spPr>
      </p:pic>
      <p:pic>
        <p:nvPicPr>
          <p:cNvPr id="16" name="object 20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2248777" y="4891832"/>
            <a:ext cx="1465092" cy="131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24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1229975" cy="838199"/>
          </a:xfrm>
        </p:spPr>
        <p:txBody>
          <a:bodyPr>
            <a:noAutofit/>
          </a:bodyPr>
          <a:lstStyle/>
          <a:p>
            <a:pPr algn="ctr"/>
            <a:r>
              <a:rPr lang="ru-RU" sz="2400" spc="365" dirty="0">
                <a:solidFill>
                  <a:schemeClr val="tx2">
                    <a:lumMod val="50000"/>
                  </a:schemeClr>
                </a:solidFill>
              </a:rPr>
              <a:t>Ч</a:t>
            </a:r>
            <a:r>
              <a:rPr lang="ru-RU" sz="2400" spc="210" dirty="0">
                <a:solidFill>
                  <a:schemeClr val="tx2">
                    <a:lumMod val="50000"/>
                  </a:schemeClr>
                </a:solidFill>
              </a:rPr>
              <a:t>т</a:t>
            </a:r>
            <a:r>
              <a:rPr lang="ru-RU" sz="2400" spc="200" dirty="0">
                <a:solidFill>
                  <a:schemeClr val="tx2">
                    <a:lumMod val="50000"/>
                  </a:schemeClr>
                </a:solidFill>
              </a:rPr>
              <a:t>о</a:t>
            </a:r>
            <a:r>
              <a:rPr lang="ru-RU" sz="2400" spc="-235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2400" spc="204" dirty="0">
                <a:solidFill>
                  <a:schemeClr val="tx2">
                    <a:lumMod val="50000"/>
                  </a:schemeClr>
                </a:solidFill>
              </a:rPr>
              <a:t>дел</a:t>
            </a:r>
            <a:r>
              <a:rPr lang="ru-RU" sz="2400" spc="125" dirty="0">
                <a:solidFill>
                  <a:schemeClr val="tx2">
                    <a:lumMod val="50000"/>
                  </a:schemeClr>
                </a:solidFill>
              </a:rPr>
              <a:t>а</a:t>
            </a:r>
            <a:r>
              <a:rPr lang="ru-RU" sz="2400" spc="170" dirty="0">
                <a:solidFill>
                  <a:schemeClr val="tx2">
                    <a:lumMod val="50000"/>
                  </a:schemeClr>
                </a:solidFill>
              </a:rPr>
              <a:t>ть,</a:t>
            </a:r>
            <a:r>
              <a:rPr lang="ru-RU" sz="2400" spc="-335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2400" spc="210" dirty="0">
                <a:solidFill>
                  <a:schemeClr val="tx2">
                    <a:lumMod val="50000"/>
                  </a:schemeClr>
                </a:solidFill>
              </a:rPr>
              <a:t>если</a:t>
            </a:r>
            <a:r>
              <a:rPr lang="ru-RU" sz="2400" spc="-235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sz="2400" spc="180" dirty="0" smtClean="0">
                <a:solidFill>
                  <a:schemeClr val="tx2">
                    <a:lumMod val="50000"/>
                  </a:schemeClr>
                </a:solidFill>
              </a:rPr>
              <a:t>правообладатель не выявлен</a:t>
            </a:r>
            <a:r>
              <a:rPr lang="en-US" sz="2400" spc="180" dirty="0" smtClean="0">
                <a:solidFill>
                  <a:schemeClr val="tx2">
                    <a:lumMod val="50000"/>
                  </a:schemeClr>
                </a:solidFill>
              </a:rPr>
              <a:t>?</a:t>
            </a:r>
            <a:endParaRPr lang="ru-RU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0" name="Slide Number Placeholder 6">
            <a:extLst>
              <a:ext uri="{FF2B5EF4-FFF2-40B4-BE49-F238E27FC236}">
                <a16:creationId xmlns="" xmlns:a16="http://schemas.microsoft.com/office/drawing/2014/main" id="{F10AD0A7-14F2-4553-A2B8-E29B0144AC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</a:rPr>
              <a:pPr>
                <a:defRPr/>
              </a:pPr>
              <a:t>5</a:t>
            </a:fld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Arial"/>
            </a:endParaRPr>
          </a:p>
        </p:txBody>
      </p:sp>
      <p:grpSp>
        <p:nvGrpSpPr>
          <p:cNvPr id="35" name="object 6"/>
          <p:cNvGrpSpPr/>
          <p:nvPr/>
        </p:nvGrpSpPr>
        <p:grpSpPr>
          <a:xfrm>
            <a:off x="2132189" y="1112758"/>
            <a:ext cx="8128971" cy="4761637"/>
            <a:chOff x="465480" y="2569879"/>
            <a:chExt cx="6512234" cy="2617397"/>
          </a:xfrm>
        </p:grpSpPr>
        <p:sp>
          <p:nvSpPr>
            <p:cNvPr id="37" name="object 7"/>
            <p:cNvSpPr/>
            <p:nvPr/>
          </p:nvSpPr>
          <p:spPr>
            <a:xfrm>
              <a:off x="4467139" y="3610888"/>
              <a:ext cx="296342" cy="429352"/>
            </a:xfrm>
            <a:custGeom>
              <a:avLst/>
              <a:gdLst/>
              <a:ahLst/>
              <a:cxnLst/>
              <a:rect l="l" t="t" r="r" b="b"/>
              <a:pathLst>
                <a:path w="318770" h="551814">
                  <a:moveTo>
                    <a:pt x="0" y="0"/>
                  </a:moveTo>
                  <a:lnTo>
                    <a:pt x="318490" y="551637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8"/>
            <p:cNvSpPr/>
            <p:nvPr/>
          </p:nvSpPr>
          <p:spPr>
            <a:xfrm>
              <a:off x="4722524" y="3994948"/>
              <a:ext cx="81915" cy="67945"/>
            </a:xfrm>
            <a:custGeom>
              <a:avLst/>
              <a:gdLst/>
              <a:ahLst/>
              <a:cxnLst/>
              <a:rect l="l" t="t" r="r" b="b"/>
              <a:pathLst>
                <a:path w="81914" h="67945">
                  <a:moveTo>
                    <a:pt x="81914" y="0"/>
                  </a:moveTo>
                  <a:lnTo>
                    <a:pt x="66395" y="67691"/>
                  </a:lnTo>
                  <a:lnTo>
                    <a:pt x="0" y="47294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10"/>
            <p:cNvSpPr/>
            <p:nvPr/>
          </p:nvSpPr>
          <p:spPr>
            <a:xfrm>
              <a:off x="1036363" y="2569879"/>
              <a:ext cx="5185925" cy="1041125"/>
            </a:xfrm>
            <a:custGeom>
              <a:avLst/>
              <a:gdLst/>
              <a:ahLst/>
              <a:cxnLst/>
              <a:rect l="l" t="t" r="r" b="b"/>
              <a:pathLst>
                <a:path w="5028565" h="87312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720496"/>
                  </a:lnTo>
                  <a:lnTo>
                    <a:pt x="7769" y="768669"/>
                  </a:lnTo>
                  <a:lnTo>
                    <a:pt x="29405" y="810505"/>
                  </a:lnTo>
                  <a:lnTo>
                    <a:pt x="62396" y="843494"/>
                  </a:lnTo>
                  <a:lnTo>
                    <a:pt x="104231" y="865127"/>
                  </a:lnTo>
                  <a:lnTo>
                    <a:pt x="152400" y="872896"/>
                  </a:lnTo>
                  <a:lnTo>
                    <a:pt x="4876152" y="872896"/>
                  </a:lnTo>
                  <a:lnTo>
                    <a:pt x="4924320" y="865127"/>
                  </a:lnTo>
                  <a:lnTo>
                    <a:pt x="4966155" y="843494"/>
                  </a:lnTo>
                  <a:lnTo>
                    <a:pt x="4999146" y="810505"/>
                  </a:lnTo>
                  <a:lnTo>
                    <a:pt x="5020782" y="768669"/>
                  </a:lnTo>
                  <a:lnTo>
                    <a:pt x="5028552" y="720496"/>
                  </a:lnTo>
                  <a:lnTo>
                    <a:pt x="5028552" y="152400"/>
                  </a:lnTo>
                  <a:lnTo>
                    <a:pt x="5020782" y="104231"/>
                  </a:lnTo>
                  <a:lnTo>
                    <a:pt x="4999146" y="62396"/>
                  </a:lnTo>
                  <a:lnTo>
                    <a:pt x="4966155" y="29405"/>
                  </a:lnTo>
                  <a:lnTo>
                    <a:pt x="4924320" y="7769"/>
                  </a:lnTo>
                  <a:lnTo>
                    <a:pt x="4876152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11"/>
            <p:cNvSpPr/>
            <p:nvPr/>
          </p:nvSpPr>
          <p:spPr>
            <a:xfrm>
              <a:off x="3930349" y="4056341"/>
              <a:ext cx="3047365" cy="1130935"/>
            </a:xfrm>
            <a:custGeom>
              <a:avLst/>
              <a:gdLst/>
              <a:ahLst/>
              <a:cxnLst/>
              <a:rect l="l" t="t" r="r" b="b"/>
              <a:pathLst>
                <a:path w="3047365" h="124269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1090218"/>
                  </a:lnTo>
                  <a:lnTo>
                    <a:pt x="7769" y="1138386"/>
                  </a:lnTo>
                  <a:lnTo>
                    <a:pt x="29405" y="1180221"/>
                  </a:lnTo>
                  <a:lnTo>
                    <a:pt x="62396" y="1213212"/>
                  </a:lnTo>
                  <a:lnTo>
                    <a:pt x="104231" y="1234848"/>
                  </a:lnTo>
                  <a:lnTo>
                    <a:pt x="152400" y="1242618"/>
                  </a:lnTo>
                  <a:lnTo>
                    <a:pt x="2894901" y="1242618"/>
                  </a:lnTo>
                  <a:lnTo>
                    <a:pt x="2943069" y="1234848"/>
                  </a:lnTo>
                  <a:lnTo>
                    <a:pt x="2984904" y="1213212"/>
                  </a:lnTo>
                  <a:lnTo>
                    <a:pt x="3017895" y="1180221"/>
                  </a:lnTo>
                  <a:lnTo>
                    <a:pt x="3039531" y="1138386"/>
                  </a:lnTo>
                  <a:lnTo>
                    <a:pt x="3047301" y="1090218"/>
                  </a:lnTo>
                  <a:lnTo>
                    <a:pt x="3047301" y="152400"/>
                  </a:lnTo>
                  <a:lnTo>
                    <a:pt x="3039531" y="104231"/>
                  </a:lnTo>
                  <a:lnTo>
                    <a:pt x="3017895" y="62396"/>
                  </a:lnTo>
                  <a:lnTo>
                    <a:pt x="2984904" y="29405"/>
                  </a:lnTo>
                  <a:lnTo>
                    <a:pt x="2943069" y="7769"/>
                  </a:lnTo>
                  <a:lnTo>
                    <a:pt x="2894901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12"/>
            <p:cNvSpPr/>
            <p:nvPr/>
          </p:nvSpPr>
          <p:spPr>
            <a:xfrm>
              <a:off x="465480" y="4056341"/>
              <a:ext cx="3047365" cy="1130935"/>
            </a:xfrm>
            <a:custGeom>
              <a:avLst/>
              <a:gdLst/>
              <a:ahLst/>
              <a:cxnLst/>
              <a:rect l="l" t="t" r="r" b="b"/>
              <a:pathLst>
                <a:path w="3047365" h="1130935">
                  <a:moveTo>
                    <a:pt x="152400" y="0"/>
                  </a:moveTo>
                  <a:lnTo>
                    <a:pt x="104231" y="7769"/>
                  </a:lnTo>
                  <a:lnTo>
                    <a:pt x="62396" y="29405"/>
                  </a:lnTo>
                  <a:lnTo>
                    <a:pt x="29405" y="62396"/>
                  </a:lnTo>
                  <a:lnTo>
                    <a:pt x="7769" y="104231"/>
                  </a:lnTo>
                  <a:lnTo>
                    <a:pt x="0" y="152400"/>
                  </a:lnTo>
                  <a:lnTo>
                    <a:pt x="0" y="978001"/>
                  </a:lnTo>
                  <a:lnTo>
                    <a:pt x="7769" y="1026174"/>
                  </a:lnTo>
                  <a:lnTo>
                    <a:pt x="29405" y="1068010"/>
                  </a:lnTo>
                  <a:lnTo>
                    <a:pt x="62396" y="1100999"/>
                  </a:lnTo>
                  <a:lnTo>
                    <a:pt x="104231" y="1122632"/>
                  </a:lnTo>
                  <a:lnTo>
                    <a:pt x="152400" y="1130401"/>
                  </a:lnTo>
                  <a:lnTo>
                    <a:pt x="2894901" y="1130401"/>
                  </a:lnTo>
                  <a:lnTo>
                    <a:pt x="2943069" y="1122632"/>
                  </a:lnTo>
                  <a:lnTo>
                    <a:pt x="2984904" y="1100999"/>
                  </a:lnTo>
                  <a:lnTo>
                    <a:pt x="3017895" y="1068010"/>
                  </a:lnTo>
                  <a:lnTo>
                    <a:pt x="3039531" y="1026174"/>
                  </a:lnTo>
                  <a:lnTo>
                    <a:pt x="3047301" y="978001"/>
                  </a:lnTo>
                  <a:lnTo>
                    <a:pt x="3047301" y="152400"/>
                  </a:lnTo>
                  <a:lnTo>
                    <a:pt x="3039531" y="104231"/>
                  </a:lnTo>
                  <a:lnTo>
                    <a:pt x="3017895" y="62396"/>
                  </a:lnTo>
                  <a:lnTo>
                    <a:pt x="2984904" y="29405"/>
                  </a:lnTo>
                  <a:lnTo>
                    <a:pt x="2943069" y="7769"/>
                  </a:lnTo>
                  <a:lnTo>
                    <a:pt x="2894901" y="0"/>
                  </a:lnTo>
                  <a:lnTo>
                    <a:pt x="152400" y="0"/>
                  </a:lnTo>
                  <a:close/>
                </a:path>
              </a:pathLst>
            </a:custGeom>
            <a:ln w="12700">
              <a:solidFill>
                <a:srgbClr val="008C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49" name="object 18"/>
          <p:cNvGrpSpPr/>
          <p:nvPr/>
        </p:nvGrpSpPr>
        <p:grpSpPr>
          <a:xfrm>
            <a:off x="4971260" y="3006590"/>
            <a:ext cx="417686" cy="810364"/>
            <a:chOff x="1122188" y="3602493"/>
            <a:chExt cx="334289" cy="551888"/>
          </a:xfrm>
        </p:grpSpPr>
        <p:sp>
          <p:nvSpPr>
            <p:cNvPr id="50" name="object 19"/>
            <p:cNvSpPr/>
            <p:nvPr/>
          </p:nvSpPr>
          <p:spPr>
            <a:xfrm>
              <a:off x="1137707" y="3602493"/>
              <a:ext cx="318770" cy="551815"/>
            </a:xfrm>
            <a:custGeom>
              <a:avLst/>
              <a:gdLst/>
              <a:ahLst/>
              <a:cxnLst/>
              <a:rect l="l" t="t" r="r" b="b"/>
              <a:pathLst>
                <a:path w="318769" h="551814">
                  <a:moveTo>
                    <a:pt x="318490" y="0"/>
                  </a:moveTo>
                  <a:lnTo>
                    <a:pt x="0" y="551637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20"/>
            <p:cNvSpPr/>
            <p:nvPr/>
          </p:nvSpPr>
          <p:spPr>
            <a:xfrm>
              <a:off x="1122188" y="4086436"/>
              <a:ext cx="81915" cy="67945"/>
            </a:xfrm>
            <a:custGeom>
              <a:avLst/>
              <a:gdLst/>
              <a:ahLst/>
              <a:cxnLst/>
              <a:rect l="l" t="t" r="r" b="b"/>
              <a:pathLst>
                <a:path w="81915" h="67945">
                  <a:moveTo>
                    <a:pt x="0" y="0"/>
                  </a:moveTo>
                  <a:lnTo>
                    <a:pt x="15519" y="67691"/>
                  </a:lnTo>
                  <a:lnTo>
                    <a:pt x="81915" y="47294"/>
                  </a:lnTo>
                </a:path>
              </a:pathLst>
            </a:custGeom>
            <a:ln w="12700">
              <a:solidFill>
                <a:srgbClr val="4FA73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16"/>
          <p:cNvSpPr txBox="1"/>
          <p:nvPr/>
        </p:nvSpPr>
        <p:spPr>
          <a:xfrm>
            <a:off x="7127306" y="4216382"/>
            <a:ext cx="2463800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000" spc="185" dirty="0">
                <a:solidFill>
                  <a:srgbClr val="008CFF"/>
                </a:solidFill>
                <a:latin typeface="Tahoma"/>
                <a:cs typeface="Tahoma"/>
              </a:rPr>
              <a:t>С</a:t>
            </a:r>
            <a:r>
              <a:rPr sz="2000" spc="114" dirty="0">
                <a:solidFill>
                  <a:srgbClr val="008CFF"/>
                </a:solidFill>
                <a:latin typeface="Tahoma"/>
                <a:cs typeface="Tahoma"/>
              </a:rPr>
              <a:t>т</a:t>
            </a:r>
            <a:r>
              <a:rPr sz="2000" spc="35" dirty="0">
                <a:solidFill>
                  <a:srgbClr val="008CFF"/>
                </a:solidFill>
                <a:latin typeface="Tahoma"/>
                <a:cs typeface="Tahoma"/>
              </a:rPr>
              <a:t>а</a:t>
            </a:r>
            <a:r>
              <a:rPr sz="2000" spc="105" dirty="0">
                <a:solidFill>
                  <a:srgbClr val="008CFF"/>
                </a:solidFill>
                <a:latin typeface="Tahoma"/>
                <a:cs typeface="Tahoma"/>
              </a:rPr>
              <a:t>тьи</a:t>
            </a:r>
            <a:r>
              <a:rPr sz="2000" spc="-114" dirty="0">
                <a:solidFill>
                  <a:srgbClr val="008CFF"/>
                </a:solidFill>
                <a:latin typeface="Tahoma"/>
                <a:cs typeface="Tahoma"/>
              </a:rPr>
              <a:t> </a:t>
            </a:r>
            <a:r>
              <a:rPr sz="2000" spc="-30" dirty="0">
                <a:solidFill>
                  <a:srgbClr val="008CFF"/>
                </a:solidFill>
                <a:latin typeface="Tahoma"/>
                <a:cs typeface="Tahoma"/>
              </a:rPr>
              <a:t>1151</a:t>
            </a:r>
            <a:endParaRPr sz="2000" dirty="0">
              <a:latin typeface="Tahoma"/>
              <a:cs typeface="Tahoma"/>
            </a:endParaRPr>
          </a:p>
          <a:p>
            <a:pPr marL="12065" marR="5080" algn="ctr">
              <a:lnSpc>
                <a:spcPct val="100000"/>
              </a:lnSpc>
            </a:pPr>
            <a:r>
              <a:rPr sz="2000" spc="85" dirty="0">
                <a:solidFill>
                  <a:srgbClr val="008CFF"/>
                </a:solidFill>
                <a:latin typeface="Tahoma"/>
                <a:cs typeface="Tahoma"/>
              </a:rPr>
              <a:t>«Наследование  </a:t>
            </a:r>
            <a:r>
              <a:rPr sz="2000" spc="90" dirty="0">
                <a:solidFill>
                  <a:srgbClr val="008CFF"/>
                </a:solidFill>
                <a:latin typeface="Tahoma"/>
                <a:cs typeface="Tahoma"/>
              </a:rPr>
              <a:t>выморочного </a:t>
            </a:r>
            <a:r>
              <a:rPr sz="2000" spc="95" dirty="0">
                <a:solidFill>
                  <a:srgbClr val="008CFF"/>
                </a:solidFill>
                <a:latin typeface="Tahoma"/>
                <a:cs typeface="Tahoma"/>
              </a:rPr>
              <a:t> </a:t>
            </a:r>
            <a:r>
              <a:rPr sz="2000" spc="114" dirty="0">
                <a:solidFill>
                  <a:srgbClr val="008CFF"/>
                </a:solidFill>
                <a:latin typeface="Tahoma"/>
                <a:cs typeface="Tahoma"/>
              </a:rPr>
              <a:t>имущества»</a:t>
            </a:r>
            <a:endParaRPr sz="2000" dirty="0">
              <a:latin typeface="Tahoma"/>
              <a:cs typeface="Tahoma"/>
            </a:endParaRPr>
          </a:p>
        </p:txBody>
      </p:sp>
      <p:sp>
        <p:nvSpPr>
          <p:cNvPr id="25" name="object 15"/>
          <p:cNvSpPr txBox="1"/>
          <p:nvPr/>
        </p:nvSpPr>
        <p:spPr>
          <a:xfrm>
            <a:off x="2998950" y="4377589"/>
            <a:ext cx="1972310" cy="93615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2000" spc="185" dirty="0">
                <a:solidFill>
                  <a:srgbClr val="008CFF"/>
                </a:solidFill>
                <a:latin typeface="Tahoma"/>
                <a:cs typeface="Tahoma"/>
              </a:rPr>
              <a:t>С</a:t>
            </a:r>
            <a:r>
              <a:rPr sz="2000" spc="114" dirty="0">
                <a:solidFill>
                  <a:srgbClr val="008CFF"/>
                </a:solidFill>
                <a:latin typeface="Tahoma"/>
                <a:cs typeface="Tahoma"/>
              </a:rPr>
              <a:t>т</a:t>
            </a:r>
            <a:r>
              <a:rPr sz="2000" spc="35" dirty="0">
                <a:solidFill>
                  <a:srgbClr val="008CFF"/>
                </a:solidFill>
                <a:latin typeface="Tahoma"/>
                <a:cs typeface="Tahoma"/>
              </a:rPr>
              <a:t>а</a:t>
            </a:r>
            <a:r>
              <a:rPr sz="2000" spc="105" dirty="0">
                <a:solidFill>
                  <a:srgbClr val="008CFF"/>
                </a:solidFill>
                <a:latin typeface="Tahoma"/>
                <a:cs typeface="Tahoma"/>
              </a:rPr>
              <a:t>тьи</a:t>
            </a:r>
            <a:r>
              <a:rPr sz="2000" spc="-114" dirty="0">
                <a:solidFill>
                  <a:srgbClr val="008CFF"/>
                </a:solidFill>
                <a:latin typeface="Tahoma"/>
                <a:cs typeface="Tahoma"/>
              </a:rPr>
              <a:t> </a:t>
            </a:r>
            <a:r>
              <a:rPr sz="2000" spc="120" dirty="0">
                <a:solidFill>
                  <a:srgbClr val="008CFF"/>
                </a:solidFill>
                <a:latin typeface="Tahoma"/>
                <a:cs typeface="Tahoma"/>
              </a:rPr>
              <a:t>225</a:t>
            </a:r>
            <a:endParaRPr sz="2000" dirty="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</a:pPr>
            <a:r>
              <a:rPr sz="2000" spc="110" dirty="0">
                <a:solidFill>
                  <a:srgbClr val="008CFF"/>
                </a:solidFill>
                <a:latin typeface="Tahoma"/>
                <a:cs typeface="Tahoma"/>
              </a:rPr>
              <a:t>«Бе</a:t>
            </a:r>
            <a:r>
              <a:rPr sz="2000" spc="85" dirty="0">
                <a:solidFill>
                  <a:srgbClr val="008CFF"/>
                </a:solidFill>
                <a:latin typeface="Tahoma"/>
                <a:cs typeface="Tahoma"/>
              </a:rPr>
              <a:t>с</a:t>
            </a:r>
            <a:r>
              <a:rPr sz="2000" spc="80" dirty="0">
                <a:solidFill>
                  <a:srgbClr val="008CFF"/>
                </a:solidFill>
                <a:latin typeface="Tahoma"/>
                <a:cs typeface="Tahoma"/>
              </a:rPr>
              <a:t>х</a:t>
            </a:r>
            <a:r>
              <a:rPr sz="2000" spc="90" dirty="0">
                <a:solidFill>
                  <a:srgbClr val="008CFF"/>
                </a:solidFill>
                <a:latin typeface="Tahoma"/>
                <a:cs typeface="Tahoma"/>
              </a:rPr>
              <a:t>озяйные</a:t>
            </a:r>
            <a:r>
              <a:rPr sz="2000" spc="-114" dirty="0">
                <a:solidFill>
                  <a:srgbClr val="008CFF"/>
                </a:solidFill>
                <a:latin typeface="Tahoma"/>
                <a:cs typeface="Tahoma"/>
              </a:rPr>
              <a:t> </a:t>
            </a:r>
            <a:r>
              <a:rPr sz="2000" spc="100" dirty="0">
                <a:solidFill>
                  <a:srgbClr val="008CFF"/>
                </a:solidFill>
                <a:latin typeface="Tahoma"/>
                <a:cs typeface="Tahoma"/>
              </a:rPr>
              <a:t>вещи»</a:t>
            </a:r>
            <a:endParaRPr sz="2000" dirty="0">
              <a:latin typeface="Tahoma"/>
              <a:cs typeface="Tahoma"/>
            </a:endParaRPr>
          </a:p>
        </p:txBody>
      </p:sp>
      <p:grpSp>
        <p:nvGrpSpPr>
          <p:cNvPr id="26" name="object 17"/>
          <p:cNvGrpSpPr/>
          <p:nvPr/>
        </p:nvGrpSpPr>
        <p:grpSpPr>
          <a:xfrm>
            <a:off x="9885314" y="1304981"/>
            <a:ext cx="2132330" cy="2400300"/>
            <a:chOff x="3903883" y="5231081"/>
            <a:chExt cx="2132330" cy="2400300"/>
          </a:xfrm>
        </p:grpSpPr>
        <p:sp>
          <p:nvSpPr>
            <p:cNvPr id="27" name="object 18"/>
            <p:cNvSpPr/>
            <p:nvPr/>
          </p:nvSpPr>
          <p:spPr>
            <a:xfrm>
              <a:off x="3903878" y="5231091"/>
              <a:ext cx="2132330" cy="2400300"/>
            </a:xfrm>
            <a:custGeom>
              <a:avLst/>
              <a:gdLst/>
              <a:ahLst/>
              <a:cxnLst/>
              <a:rect l="l" t="t" r="r" b="b"/>
              <a:pathLst>
                <a:path w="2132329" h="2400300">
                  <a:moveTo>
                    <a:pt x="1247101" y="1639620"/>
                  </a:moveTo>
                  <a:lnTo>
                    <a:pt x="1218196" y="1593367"/>
                  </a:lnTo>
                  <a:lnTo>
                    <a:pt x="1190510" y="1586826"/>
                  </a:lnTo>
                  <a:lnTo>
                    <a:pt x="1176324" y="1587030"/>
                  </a:lnTo>
                  <a:lnTo>
                    <a:pt x="367842" y="1587144"/>
                  </a:lnTo>
                  <a:lnTo>
                    <a:pt x="324104" y="1605864"/>
                  </a:lnTo>
                  <a:lnTo>
                    <a:pt x="313143" y="1638833"/>
                  </a:lnTo>
                  <a:lnTo>
                    <a:pt x="316738" y="1656499"/>
                  </a:lnTo>
                  <a:lnTo>
                    <a:pt x="359168" y="1683829"/>
                  </a:lnTo>
                  <a:lnTo>
                    <a:pt x="1146390" y="1684299"/>
                  </a:lnTo>
                  <a:lnTo>
                    <a:pt x="1194104" y="1684134"/>
                  </a:lnTo>
                  <a:lnTo>
                    <a:pt x="1214755" y="1680692"/>
                  </a:lnTo>
                  <a:lnTo>
                    <a:pt x="1231214" y="1671370"/>
                  </a:lnTo>
                  <a:lnTo>
                    <a:pt x="1242364" y="1657299"/>
                  </a:lnTo>
                  <a:lnTo>
                    <a:pt x="1247101" y="1639620"/>
                  </a:lnTo>
                  <a:close/>
                </a:path>
                <a:path w="2132329" h="2400300">
                  <a:moveTo>
                    <a:pt x="1247140" y="1416862"/>
                  </a:moveTo>
                  <a:lnTo>
                    <a:pt x="1220038" y="1370952"/>
                  </a:lnTo>
                  <a:lnTo>
                    <a:pt x="1193787" y="1363967"/>
                  </a:lnTo>
                  <a:lnTo>
                    <a:pt x="372452" y="1364119"/>
                  </a:lnTo>
                  <a:lnTo>
                    <a:pt x="332714" y="1374736"/>
                  </a:lnTo>
                  <a:lnTo>
                    <a:pt x="312966" y="1409966"/>
                  </a:lnTo>
                  <a:lnTo>
                    <a:pt x="316344" y="1430667"/>
                  </a:lnTo>
                  <a:lnTo>
                    <a:pt x="325412" y="1445348"/>
                  </a:lnTo>
                  <a:lnTo>
                    <a:pt x="337591" y="1454848"/>
                  </a:lnTo>
                  <a:lnTo>
                    <a:pt x="352501" y="1459941"/>
                  </a:lnTo>
                  <a:lnTo>
                    <a:pt x="369798" y="1461427"/>
                  </a:lnTo>
                  <a:lnTo>
                    <a:pt x="1145908" y="1461236"/>
                  </a:lnTo>
                  <a:lnTo>
                    <a:pt x="1196809" y="1460982"/>
                  </a:lnTo>
                  <a:lnTo>
                    <a:pt x="1242682" y="1434528"/>
                  </a:lnTo>
                  <a:lnTo>
                    <a:pt x="1247140" y="1416862"/>
                  </a:lnTo>
                  <a:close/>
                </a:path>
                <a:path w="2132329" h="2400300">
                  <a:moveTo>
                    <a:pt x="1247241" y="1192123"/>
                  </a:moveTo>
                  <a:lnTo>
                    <a:pt x="1243177" y="1169924"/>
                  </a:lnTo>
                  <a:lnTo>
                    <a:pt x="1229829" y="1153947"/>
                  </a:lnTo>
                  <a:lnTo>
                    <a:pt x="1207312" y="1144282"/>
                  </a:lnTo>
                  <a:lnTo>
                    <a:pt x="1175727" y="1141044"/>
                  </a:lnTo>
                  <a:lnTo>
                    <a:pt x="376897" y="1141145"/>
                  </a:lnTo>
                  <a:lnTo>
                    <a:pt x="335114" y="1149819"/>
                  </a:lnTo>
                  <a:lnTo>
                    <a:pt x="313169" y="1193761"/>
                  </a:lnTo>
                  <a:lnTo>
                    <a:pt x="317144" y="1210576"/>
                  </a:lnTo>
                  <a:lnTo>
                    <a:pt x="326453" y="1224114"/>
                  </a:lnTo>
                  <a:lnTo>
                    <a:pt x="340245" y="1233500"/>
                  </a:lnTo>
                  <a:lnTo>
                    <a:pt x="357695" y="1237843"/>
                  </a:lnTo>
                  <a:lnTo>
                    <a:pt x="370928" y="1238313"/>
                  </a:lnTo>
                  <a:lnTo>
                    <a:pt x="1177061" y="1238300"/>
                  </a:lnTo>
                  <a:lnTo>
                    <a:pt x="1207096" y="1235354"/>
                  </a:lnTo>
                  <a:lnTo>
                    <a:pt x="1228928" y="1226591"/>
                  </a:lnTo>
                  <a:lnTo>
                    <a:pt x="1242364" y="1212138"/>
                  </a:lnTo>
                  <a:lnTo>
                    <a:pt x="1247241" y="1192123"/>
                  </a:lnTo>
                  <a:close/>
                </a:path>
                <a:path w="2132329" h="2400300">
                  <a:moveTo>
                    <a:pt x="1247279" y="969543"/>
                  </a:moveTo>
                  <a:lnTo>
                    <a:pt x="1222641" y="925322"/>
                  </a:lnTo>
                  <a:lnTo>
                    <a:pt x="1197521" y="917892"/>
                  </a:lnTo>
                  <a:lnTo>
                    <a:pt x="1181506" y="918095"/>
                  </a:lnTo>
                  <a:lnTo>
                    <a:pt x="370928" y="918235"/>
                  </a:lnTo>
                  <a:lnTo>
                    <a:pt x="333959" y="927608"/>
                  </a:lnTo>
                  <a:lnTo>
                    <a:pt x="313296" y="970038"/>
                  </a:lnTo>
                  <a:lnTo>
                    <a:pt x="317398" y="986967"/>
                  </a:lnTo>
                  <a:lnTo>
                    <a:pt x="357555" y="1014818"/>
                  </a:lnTo>
                  <a:lnTo>
                    <a:pt x="1170762" y="1015352"/>
                  </a:lnTo>
                  <a:lnTo>
                    <a:pt x="1200581" y="1014831"/>
                  </a:lnTo>
                  <a:lnTo>
                    <a:pt x="1218552" y="1010793"/>
                  </a:lnTo>
                  <a:lnTo>
                    <a:pt x="1233220" y="1000798"/>
                  </a:lnTo>
                  <a:lnTo>
                    <a:pt x="1243241" y="986485"/>
                  </a:lnTo>
                  <a:lnTo>
                    <a:pt x="1247279" y="969543"/>
                  </a:lnTo>
                  <a:close/>
                </a:path>
                <a:path w="2132329" h="2400300">
                  <a:moveTo>
                    <a:pt x="1689087" y="470446"/>
                  </a:moveTo>
                  <a:lnTo>
                    <a:pt x="1688934" y="432028"/>
                  </a:lnTo>
                  <a:lnTo>
                    <a:pt x="1675587" y="389597"/>
                  </a:lnTo>
                  <a:lnTo>
                    <a:pt x="1641005" y="374180"/>
                  </a:lnTo>
                  <a:lnTo>
                    <a:pt x="1621129" y="378421"/>
                  </a:lnTo>
                  <a:lnTo>
                    <a:pt x="1605788" y="389978"/>
                  </a:lnTo>
                  <a:lnTo>
                    <a:pt x="1595869" y="408127"/>
                  </a:lnTo>
                  <a:lnTo>
                    <a:pt x="1592275" y="432155"/>
                  </a:lnTo>
                  <a:lnTo>
                    <a:pt x="1591945" y="635266"/>
                  </a:lnTo>
                  <a:lnTo>
                    <a:pt x="1592275" y="736815"/>
                  </a:lnTo>
                  <a:lnTo>
                    <a:pt x="1596047" y="760247"/>
                  </a:lnTo>
                  <a:lnTo>
                    <a:pt x="1606410" y="777887"/>
                  </a:lnTo>
                  <a:lnTo>
                    <a:pt x="1622323" y="788860"/>
                  </a:lnTo>
                  <a:lnTo>
                    <a:pt x="1642719" y="792314"/>
                  </a:lnTo>
                  <a:lnTo>
                    <a:pt x="1662468" y="788352"/>
                  </a:lnTo>
                  <a:lnTo>
                    <a:pt x="1676895" y="777684"/>
                  </a:lnTo>
                  <a:lnTo>
                    <a:pt x="1685785" y="760425"/>
                  </a:lnTo>
                  <a:lnTo>
                    <a:pt x="1688909" y="736688"/>
                  </a:lnTo>
                  <a:lnTo>
                    <a:pt x="1689087" y="470446"/>
                  </a:lnTo>
                  <a:close/>
                </a:path>
                <a:path w="2132329" h="2400300">
                  <a:moveTo>
                    <a:pt x="2131733" y="495300"/>
                  </a:moveTo>
                  <a:lnTo>
                    <a:pt x="2130133" y="444500"/>
                  </a:lnTo>
                  <a:lnTo>
                    <a:pt x="2123427" y="406400"/>
                  </a:lnTo>
                  <a:lnTo>
                    <a:pt x="2112962" y="355600"/>
                  </a:lnTo>
                  <a:lnTo>
                    <a:pt x="2098929" y="317500"/>
                  </a:lnTo>
                  <a:lnTo>
                    <a:pt x="2081517" y="266700"/>
                  </a:lnTo>
                  <a:lnTo>
                    <a:pt x="2060956" y="228600"/>
                  </a:lnTo>
                  <a:lnTo>
                    <a:pt x="2037473" y="203200"/>
                  </a:lnTo>
                  <a:lnTo>
                    <a:pt x="2033016" y="196723"/>
                  </a:lnTo>
                  <a:lnTo>
                    <a:pt x="2033016" y="495300"/>
                  </a:lnTo>
                  <a:lnTo>
                    <a:pt x="2030107" y="533400"/>
                  </a:lnTo>
                  <a:lnTo>
                    <a:pt x="2021420" y="584200"/>
                  </a:lnTo>
                  <a:lnTo>
                    <a:pt x="2007298" y="635000"/>
                  </a:lnTo>
                  <a:lnTo>
                    <a:pt x="1988083" y="673100"/>
                  </a:lnTo>
                  <a:lnTo>
                    <a:pt x="1964131" y="723900"/>
                  </a:lnTo>
                  <a:lnTo>
                    <a:pt x="1935784" y="749300"/>
                  </a:lnTo>
                  <a:lnTo>
                    <a:pt x="1903399" y="787400"/>
                  </a:lnTo>
                  <a:lnTo>
                    <a:pt x="1867319" y="812800"/>
                  </a:lnTo>
                  <a:lnTo>
                    <a:pt x="1827898" y="838200"/>
                  </a:lnTo>
                  <a:lnTo>
                    <a:pt x="1785480" y="863600"/>
                  </a:lnTo>
                  <a:lnTo>
                    <a:pt x="1778355" y="865619"/>
                  </a:lnTo>
                  <a:lnTo>
                    <a:pt x="1778355" y="2222500"/>
                  </a:lnTo>
                  <a:lnTo>
                    <a:pt x="1776425" y="2247900"/>
                  </a:lnTo>
                  <a:lnTo>
                    <a:pt x="1769973" y="2273300"/>
                  </a:lnTo>
                  <a:lnTo>
                    <a:pt x="1758175" y="2286000"/>
                  </a:lnTo>
                  <a:lnTo>
                    <a:pt x="1740255" y="2298700"/>
                  </a:lnTo>
                  <a:lnTo>
                    <a:pt x="1727238" y="2311400"/>
                  </a:lnTo>
                  <a:lnTo>
                    <a:pt x="487235" y="2311400"/>
                  </a:lnTo>
                  <a:lnTo>
                    <a:pt x="458812" y="2298700"/>
                  </a:lnTo>
                  <a:lnTo>
                    <a:pt x="436308" y="2286000"/>
                  </a:lnTo>
                  <a:lnTo>
                    <a:pt x="421220" y="2260600"/>
                  </a:lnTo>
                  <a:lnTo>
                    <a:pt x="415010" y="2235200"/>
                  </a:lnTo>
                  <a:lnTo>
                    <a:pt x="414756" y="2222500"/>
                  </a:lnTo>
                  <a:lnTo>
                    <a:pt x="414820" y="2197100"/>
                  </a:lnTo>
                  <a:lnTo>
                    <a:pt x="415480" y="2171700"/>
                  </a:lnTo>
                  <a:lnTo>
                    <a:pt x="420065" y="2159000"/>
                  </a:lnTo>
                  <a:lnTo>
                    <a:pt x="1410169" y="2159000"/>
                  </a:lnTo>
                  <a:lnTo>
                    <a:pt x="1432737" y="2146300"/>
                  </a:lnTo>
                  <a:lnTo>
                    <a:pt x="1454696" y="2146300"/>
                  </a:lnTo>
                  <a:lnTo>
                    <a:pt x="1494955" y="2120900"/>
                  </a:lnTo>
                  <a:lnTo>
                    <a:pt x="1524850" y="2082800"/>
                  </a:lnTo>
                  <a:lnTo>
                    <a:pt x="1538414" y="2057400"/>
                  </a:lnTo>
                  <a:lnTo>
                    <a:pt x="1545196" y="2044700"/>
                  </a:lnTo>
                  <a:lnTo>
                    <a:pt x="1556804" y="2006600"/>
                  </a:lnTo>
                  <a:lnTo>
                    <a:pt x="1560512" y="1968500"/>
                  </a:lnTo>
                  <a:lnTo>
                    <a:pt x="1560563" y="1358900"/>
                  </a:lnTo>
                  <a:lnTo>
                    <a:pt x="1560436" y="1219200"/>
                  </a:lnTo>
                  <a:lnTo>
                    <a:pt x="1560245" y="1092200"/>
                  </a:lnTo>
                  <a:lnTo>
                    <a:pt x="1560093" y="1016000"/>
                  </a:lnTo>
                  <a:lnTo>
                    <a:pt x="1561452" y="1003300"/>
                  </a:lnTo>
                  <a:lnTo>
                    <a:pt x="1566392" y="990600"/>
                  </a:lnTo>
                  <a:lnTo>
                    <a:pt x="1576006" y="977900"/>
                  </a:lnTo>
                  <a:lnTo>
                    <a:pt x="1591437" y="977900"/>
                  </a:lnTo>
                  <a:lnTo>
                    <a:pt x="1631848" y="990600"/>
                  </a:lnTo>
                  <a:lnTo>
                    <a:pt x="1672056" y="990600"/>
                  </a:lnTo>
                  <a:lnTo>
                    <a:pt x="1712023" y="977900"/>
                  </a:lnTo>
                  <a:lnTo>
                    <a:pt x="1777161" y="977900"/>
                  </a:lnTo>
                  <a:lnTo>
                    <a:pt x="1778317" y="990600"/>
                  </a:lnTo>
                  <a:lnTo>
                    <a:pt x="1777873" y="1028700"/>
                  </a:lnTo>
                  <a:lnTo>
                    <a:pt x="1777809" y="1092200"/>
                  </a:lnTo>
                  <a:lnTo>
                    <a:pt x="1778139" y="1130300"/>
                  </a:lnTo>
                  <a:lnTo>
                    <a:pt x="1778012" y="1130300"/>
                  </a:lnTo>
                  <a:lnTo>
                    <a:pt x="1778012" y="1663700"/>
                  </a:lnTo>
                  <a:lnTo>
                    <a:pt x="1777987" y="2044700"/>
                  </a:lnTo>
                  <a:lnTo>
                    <a:pt x="1778114" y="2133600"/>
                  </a:lnTo>
                  <a:lnTo>
                    <a:pt x="1778241" y="2184400"/>
                  </a:lnTo>
                  <a:lnTo>
                    <a:pt x="1778355" y="2222500"/>
                  </a:lnTo>
                  <a:lnTo>
                    <a:pt x="1778355" y="865619"/>
                  </a:lnTo>
                  <a:lnTo>
                    <a:pt x="1740408" y="876300"/>
                  </a:lnTo>
                  <a:lnTo>
                    <a:pt x="1693049" y="889000"/>
                  </a:lnTo>
                  <a:lnTo>
                    <a:pt x="1597291" y="889000"/>
                  </a:lnTo>
                  <a:lnTo>
                    <a:pt x="1552524" y="876300"/>
                  </a:lnTo>
                  <a:lnTo>
                    <a:pt x="1509687" y="863600"/>
                  </a:lnTo>
                  <a:lnTo>
                    <a:pt x="1469085" y="850900"/>
                  </a:lnTo>
                  <a:lnTo>
                    <a:pt x="1463954" y="847483"/>
                  </a:lnTo>
                  <a:lnTo>
                    <a:pt x="1463954" y="977900"/>
                  </a:lnTo>
                  <a:lnTo>
                    <a:pt x="1463852" y="1117600"/>
                  </a:lnTo>
                  <a:lnTo>
                    <a:pt x="1463725" y="1612900"/>
                  </a:lnTo>
                  <a:lnTo>
                    <a:pt x="1463611" y="1866900"/>
                  </a:lnTo>
                  <a:lnTo>
                    <a:pt x="1463497" y="1968500"/>
                  </a:lnTo>
                  <a:lnTo>
                    <a:pt x="1457972" y="2006600"/>
                  </a:lnTo>
                  <a:lnTo>
                    <a:pt x="1412773" y="2044700"/>
                  </a:lnTo>
                  <a:lnTo>
                    <a:pt x="1372158" y="2057400"/>
                  </a:lnTo>
                  <a:lnTo>
                    <a:pt x="186436" y="2057400"/>
                  </a:lnTo>
                  <a:lnTo>
                    <a:pt x="145821" y="2044700"/>
                  </a:lnTo>
                  <a:lnTo>
                    <a:pt x="117995" y="2032000"/>
                  </a:lnTo>
                  <a:lnTo>
                    <a:pt x="101993" y="2006600"/>
                  </a:lnTo>
                  <a:lnTo>
                    <a:pt x="96875" y="1968500"/>
                  </a:lnTo>
                  <a:lnTo>
                    <a:pt x="96913" y="292100"/>
                  </a:lnTo>
                  <a:lnTo>
                    <a:pt x="102323" y="241300"/>
                  </a:lnTo>
                  <a:lnTo>
                    <a:pt x="119329" y="215900"/>
                  </a:lnTo>
                  <a:lnTo>
                    <a:pt x="149123" y="203200"/>
                  </a:lnTo>
                  <a:lnTo>
                    <a:pt x="192900" y="190500"/>
                  </a:lnTo>
                  <a:lnTo>
                    <a:pt x="1235456" y="190500"/>
                  </a:lnTo>
                  <a:lnTo>
                    <a:pt x="1240231" y="203200"/>
                  </a:lnTo>
                  <a:lnTo>
                    <a:pt x="1239786" y="203200"/>
                  </a:lnTo>
                  <a:lnTo>
                    <a:pt x="1234808" y="215900"/>
                  </a:lnTo>
                  <a:lnTo>
                    <a:pt x="1213459" y="254000"/>
                  </a:lnTo>
                  <a:lnTo>
                    <a:pt x="1195031" y="279400"/>
                  </a:lnTo>
                  <a:lnTo>
                    <a:pt x="1179753" y="317500"/>
                  </a:lnTo>
                  <a:lnTo>
                    <a:pt x="1167841" y="355600"/>
                  </a:lnTo>
                  <a:lnTo>
                    <a:pt x="1163002" y="381000"/>
                  </a:lnTo>
                  <a:lnTo>
                    <a:pt x="1158684" y="393700"/>
                  </a:lnTo>
                  <a:lnTo>
                    <a:pt x="1155293" y="419100"/>
                  </a:lnTo>
                  <a:lnTo>
                    <a:pt x="1153299" y="431800"/>
                  </a:lnTo>
                  <a:lnTo>
                    <a:pt x="1151445" y="448360"/>
                  </a:lnTo>
                  <a:lnTo>
                    <a:pt x="1151445" y="596900"/>
                  </a:lnTo>
                  <a:lnTo>
                    <a:pt x="1150848" y="635000"/>
                  </a:lnTo>
                  <a:lnTo>
                    <a:pt x="1145959" y="660400"/>
                  </a:lnTo>
                  <a:lnTo>
                    <a:pt x="414223" y="660400"/>
                  </a:lnTo>
                  <a:lnTo>
                    <a:pt x="410121" y="647700"/>
                  </a:lnTo>
                  <a:lnTo>
                    <a:pt x="409663" y="622300"/>
                  </a:lnTo>
                  <a:lnTo>
                    <a:pt x="409625" y="584200"/>
                  </a:lnTo>
                  <a:lnTo>
                    <a:pt x="414324" y="571500"/>
                  </a:lnTo>
                  <a:lnTo>
                    <a:pt x="432511" y="558800"/>
                  </a:lnTo>
                  <a:lnTo>
                    <a:pt x="472948" y="571500"/>
                  </a:lnTo>
                  <a:lnTo>
                    <a:pt x="1071054" y="571500"/>
                  </a:lnTo>
                  <a:lnTo>
                    <a:pt x="1119505" y="558800"/>
                  </a:lnTo>
                  <a:lnTo>
                    <a:pt x="1134732" y="571500"/>
                  </a:lnTo>
                  <a:lnTo>
                    <a:pt x="1144765" y="571500"/>
                  </a:lnTo>
                  <a:lnTo>
                    <a:pt x="1150150" y="584200"/>
                  </a:lnTo>
                  <a:lnTo>
                    <a:pt x="1151445" y="596900"/>
                  </a:lnTo>
                  <a:lnTo>
                    <a:pt x="1151445" y="448360"/>
                  </a:lnTo>
                  <a:lnTo>
                    <a:pt x="1150454" y="457200"/>
                  </a:lnTo>
                  <a:lnTo>
                    <a:pt x="1143939" y="457200"/>
                  </a:lnTo>
                  <a:lnTo>
                    <a:pt x="1133424" y="469900"/>
                  </a:lnTo>
                  <a:lnTo>
                    <a:pt x="344398" y="469900"/>
                  </a:lnTo>
                  <a:lnTo>
                    <a:pt x="327266" y="482600"/>
                  </a:lnTo>
                  <a:lnTo>
                    <a:pt x="316750" y="495300"/>
                  </a:lnTo>
                  <a:lnTo>
                    <a:pt x="313016" y="520700"/>
                  </a:lnTo>
                  <a:lnTo>
                    <a:pt x="312635" y="571500"/>
                  </a:lnTo>
                  <a:lnTo>
                    <a:pt x="312559" y="635000"/>
                  </a:lnTo>
                  <a:lnTo>
                    <a:pt x="312648" y="660400"/>
                  </a:lnTo>
                  <a:lnTo>
                    <a:pt x="313004" y="711200"/>
                  </a:lnTo>
                  <a:lnTo>
                    <a:pt x="316522" y="736600"/>
                  </a:lnTo>
                  <a:lnTo>
                    <a:pt x="326491" y="749300"/>
                  </a:lnTo>
                  <a:lnTo>
                    <a:pt x="342747" y="762000"/>
                  </a:lnTo>
                  <a:lnTo>
                    <a:pt x="1204099" y="762000"/>
                  </a:lnTo>
                  <a:lnTo>
                    <a:pt x="1228267" y="774700"/>
                  </a:lnTo>
                  <a:lnTo>
                    <a:pt x="1248651" y="787400"/>
                  </a:lnTo>
                  <a:lnTo>
                    <a:pt x="1267231" y="812800"/>
                  </a:lnTo>
                  <a:lnTo>
                    <a:pt x="1303743" y="850900"/>
                  </a:lnTo>
                  <a:lnTo>
                    <a:pt x="1345590" y="889000"/>
                  </a:lnTo>
                  <a:lnTo>
                    <a:pt x="1391920" y="914400"/>
                  </a:lnTo>
                  <a:lnTo>
                    <a:pt x="1441894" y="939800"/>
                  </a:lnTo>
                  <a:lnTo>
                    <a:pt x="1452270" y="952500"/>
                  </a:lnTo>
                  <a:lnTo>
                    <a:pt x="1459090" y="952500"/>
                  </a:lnTo>
                  <a:lnTo>
                    <a:pt x="1462824" y="965200"/>
                  </a:lnTo>
                  <a:lnTo>
                    <a:pt x="1463954" y="977900"/>
                  </a:lnTo>
                  <a:lnTo>
                    <a:pt x="1463954" y="847483"/>
                  </a:lnTo>
                  <a:lnTo>
                    <a:pt x="1430985" y="825500"/>
                  </a:lnTo>
                  <a:lnTo>
                    <a:pt x="1395691" y="800100"/>
                  </a:lnTo>
                  <a:lnTo>
                    <a:pt x="1363472" y="774700"/>
                  </a:lnTo>
                  <a:lnTo>
                    <a:pt x="1334617" y="736600"/>
                  </a:lnTo>
                  <a:lnTo>
                    <a:pt x="1309408" y="711200"/>
                  </a:lnTo>
                  <a:lnTo>
                    <a:pt x="1288135" y="673100"/>
                  </a:lnTo>
                  <a:lnTo>
                    <a:pt x="1271079" y="622300"/>
                  </a:lnTo>
                  <a:lnTo>
                    <a:pt x="1258519" y="584200"/>
                  </a:lnTo>
                  <a:lnTo>
                    <a:pt x="1254645" y="558800"/>
                  </a:lnTo>
                  <a:lnTo>
                    <a:pt x="1250759" y="533400"/>
                  </a:lnTo>
                  <a:lnTo>
                    <a:pt x="1248067" y="495300"/>
                  </a:lnTo>
                  <a:lnTo>
                    <a:pt x="1250645" y="444500"/>
                  </a:lnTo>
                  <a:lnTo>
                    <a:pt x="1258328" y="406400"/>
                  </a:lnTo>
                  <a:lnTo>
                    <a:pt x="1270812" y="355600"/>
                  </a:lnTo>
                  <a:lnTo>
                    <a:pt x="1287805" y="317500"/>
                  </a:lnTo>
                  <a:lnTo>
                    <a:pt x="1309014" y="279400"/>
                  </a:lnTo>
                  <a:lnTo>
                    <a:pt x="1334147" y="241300"/>
                  </a:lnTo>
                  <a:lnTo>
                    <a:pt x="1362900" y="215900"/>
                  </a:lnTo>
                  <a:lnTo>
                    <a:pt x="1384300" y="190500"/>
                  </a:lnTo>
                  <a:lnTo>
                    <a:pt x="1394993" y="177800"/>
                  </a:lnTo>
                  <a:lnTo>
                    <a:pt x="1430108" y="152400"/>
                  </a:lnTo>
                  <a:lnTo>
                    <a:pt x="1467980" y="139700"/>
                  </a:lnTo>
                  <a:lnTo>
                    <a:pt x="1508302" y="114300"/>
                  </a:lnTo>
                  <a:lnTo>
                    <a:pt x="1550771" y="101600"/>
                  </a:lnTo>
                  <a:lnTo>
                    <a:pt x="1595107" y="101600"/>
                  </a:lnTo>
                  <a:lnTo>
                    <a:pt x="1641017" y="88900"/>
                  </a:lnTo>
                  <a:lnTo>
                    <a:pt x="1690268" y="101600"/>
                  </a:lnTo>
                  <a:lnTo>
                    <a:pt x="1737664" y="101600"/>
                  </a:lnTo>
                  <a:lnTo>
                    <a:pt x="1782826" y="114300"/>
                  </a:lnTo>
                  <a:lnTo>
                    <a:pt x="1825409" y="139700"/>
                  </a:lnTo>
                  <a:lnTo>
                    <a:pt x="1865045" y="165100"/>
                  </a:lnTo>
                  <a:lnTo>
                    <a:pt x="1901380" y="190500"/>
                  </a:lnTo>
                  <a:lnTo>
                    <a:pt x="1934057" y="228600"/>
                  </a:lnTo>
                  <a:lnTo>
                    <a:pt x="1962708" y="266700"/>
                  </a:lnTo>
                  <a:lnTo>
                    <a:pt x="1986978" y="304800"/>
                  </a:lnTo>
                  <a:lnTo>
                    <a:pt x="2006498" y="342900"/>
                  </a:lnTo>
                  <a:lnTo>
                    <a:pt x="2020912" y="393700"/>
                  </a:lnTo>
                  <a:lnTo>
                    <a:pt x="2029879" y="444500"/>
                  </a:lnTo>
                  <a:lnTo>
                    <a:pt x="2033016" y="495300"/>
                  </a:lnTo>
                  <a:lnTo>
                    <a:pt x="2033016" y="196723"/>
                  </a:lnTo>
                  <a:lnTo>
                    <a:pt x="2011260" y="165100"/>
                  </a:lnTo>
                  <a:lnTo>
                    <a:pt x="1982546" y="139700"/>
                  </a:lnTo>
                  <a:lnTo>
                    <a:pt x="1951558" y="101600"/>
                  </a:lnTo>
                  <a:lnTo>
                    <a:pt x="1918500" y="76200"/>
                  </a:lnTo>
                  <a:lnTo>
                    <a:pt x="1883587" y="63500"/>
                  </a:lnTo>
                  <a:lnTo>
                    <a:pt x="1847049" y="38100"/>
                  </a:lnTo>
                  <a:lnTo>
                    <a:pt x="1809089" y="25400"/>
                  </a:lnTo>
                  <a:lnTo>
                    <a:pt x="1729790" y="0"/>
                  </a:lnTo>
                  <a:lnTo>
                    <a:pt x="1563751" y="0"/>
                  </a:lnTo>
                  <a:lnTo>
                    <a:pt x="1439532" y="38100"/>
                  </a:lnTo>
                  <a:lnTo>
                    <a:pt x="1399349" y="63500"/>
                  </a:lnTo>
                  <a:lnTo>
                    <a:pt x="1360131" y="88900"/>
                  </a:lnTo>
                  <a:lnTo>
                    <a:pt x="1337068" y="88900"/>
                  </a:lnTo>
                  <a:lnTo>
                    <a:pt x="1325156" y="101600"/>
                  </a:lnTo>
                  <a:lnTo>
                    <a:pt x="140512" y="101600"/>
                  </a:lnTo>
                  <a:lnTo>
                    <a:pt x="93637" y="114300"/>
                  </a:lnTo>
                  <a:lnTo>
                    <a:pt x="54813" y="139700"/>
                  </a:lnTo>
                  <a:lnTo>
                    <a:pt x="25361" y="177800"/>
                  </a:lnTo>
                  <a:lnTo>
                    <a:pt x="6680" y="228600"/>
                  </a:lnTo>
                  <a:lnTo>
                    <a:pt x="114" y="279400"/>
                  </a:lnTo>
                  <a:lnTo>
                    <a:pt x="0" y="1612900"/>
                  </a:lnTo>
                  <a:lnTo>
                    <a:pt x="127" y="1968500"/>
                  </a:lnTo>
                  <a:lnTo>
                    <a:pt x="6172" y="2019300"/>
                  </a:lnTo>
                  <a:lnTo>
                    <a:pt x="23520" y="2070100"/>
                  </a:lnTo>
                  <a:lnTo>
                    <a:pt x="51092" y="2108200"/>
                  </a:lnTo>
                  <a:lnTo>
                    <a:pt x="87833" y="2133600"/>
                  </a:lnTo>
                  <a:lnTo>
                    <a:pt x="132676" y="2146300"/>
                  </a:lnTo>
                  <a:lnTo>
                    <a:pt x="184556" y="2159000"/>
                  </a:lnTo>
                  <a:lnTo>
                    <a:pt x="312699" y="2159000"/>
                  </a:lnTo>
                  <a:lnTo>
                    <a:pt x="317360" y="2171700"/>
                  </a:lnTo>
                  <a:lnTo>
                    <a:pt x="318249" y="2184400"/>
                  </a:lnTo>
                  <a:lnTo>
                    <a:pt x="317715" y="2197100"/>
                  </a:lnTo>
                  <a:lnTo>
                    <a:pt x="317652" y="2209800"/>
                  </a:lnTo>
                  <a:lnTo>
                    <a:pt x="317868" y="2222500"/>
                  </a:lnTo>
                  <a:lnTo>
                    <a:pt x="318198" y="2247900"/>
                  </a:lnTo>
                  <a:lnTo>
                    <a:pt x="324942" y="2286000"/>
                  </a:lnTo>
                  <a:lnTo>
                    <a:pt x="342150" y="2324100"/>
                  </a:lnTo>
                  <a:lnTo>
                    <a:pt x="368223" y="2362200"/>
                  </a:lnTo>
                  <a:lnTo>
                    <a:pt x="401548" y="2387600"/>
                  </a:lnTo>
                  <a:lnTo>
                    <a:pt x="440524" y="2400300"/>
                  </a:lnTo>
                  <a:lnTo>
                    <a:pt x="1752447" y="2400300"/>
                  </a:lnTo>
                  <a:lnTo>
                    <a:pt x="1791703" y="2387600"/>
                  </a:lnTo>
                  <a:lnTo>
                    <a:pt x="1825218" y="2362200"/>
                  </a:lnTo>
                  <a:lnTo>
                    <a:pt x="1851291" y="2324100"/>
                  </a:lnTo>
                  <a:lnTo>
                    <a:pt x="1868271" y="2286000"/>
                  </a:lnTo>
                  <a:lnTo>
                    <a:pt x="1874456" y="2247900"/>
                  </a:lnTo>
                  <a:lnTo>
                    <a:pt x="1874837" y="2146300"/>
                  </a:lnTo>
                  <a:lnTo>
                    <a:pt x="1874939" y="2108200"/>
                  </a:lnTo>
                  <a:lnTo>
                    <a:pt x="1875066" y="2044700"/>
                  </a:lnTo>
                  <a:lnTo>
                    <a:pt x="1875015" y="1765300"/>
                  </a:lnTo>
                  <a:lnTo>
                    <a:pt x="1874888" y="1663700"/>
                  </a:lnTo>
                  <a:lnTo>
                    <a:pt x="1874926" y="1143000"/>
                  </a:lnTo>
                  <a:lnTo>
                    <a:pt x="1875078" y="1117600"/>
                  </a:lnTo>
                  <a:lnTo>
                    <a:pt x="1875193" y="1092200"/>
                  </a:lnTo>
                  <a:lnTo>
                    <a:pt x="1875066" y="990600"/>
                  </a:lnTo>
                  <a:lnTo>
                    <a:pt x="1874939" y="977900"/>
                  </a:lnTo>
                  <a:lnTo>
                    <a:pt x="1874697" y="952500"/>
                  </a:lnTo>
                  <a:lnTo>
                    <a:pt x="1875751" y="939800"/>
                  </a:lnTo>
                  <a:lnTo>
                    <a:pt x="1879790" y="927100"/>
                  </a:lnTo>
                  <a:lnTo>
                    <a:pt x="1887347" y="927100"/>
                  </a:lnTo>
                  <a:lnTo>
                    <a:pt x="1898967" y="914400"/>
                  </a:lnTo>
                  <a:lnTo>
                    <a:pt x="1940420" y="889000"/>
                  </a:lnTo>
                  <a:lnTo>
                    <a:pt x="1978228" y="850900"/>
                  </a:lnTo>
                  <a:lnTo>
                    <a:pt x="2012238" y="812800"/>
                  </a:lnTo>
                  <a:lnTo>
                    <a:pt x="2042299" y="774700"/>
                  </a:lnTo>
                  <a:lnTo>
                    <a:pt x="2068271" y="736600"/>
                  </a:lnTo>
                  <a:lnTo>
                    <a:pt x="2090013" y="685800"/>
                  </a:lnTo>
                  <a:lnTo>
                    <a:pt x="2107374" y="647700"/>
                  </a:lnTo>
                  <a:lnTo>
                    <a:pt x="2120214" y="596900"/>
                  </a:lnTo>
                  <a:lnTo>
                    <a:pt x="2128380" y="546100"/>
                  </a:lnTo>
                  <a:lnTo>
                    <a:pt x="2131733" y="495300"/>
                  </a:lnTo>
                  <a:close/>
                </a:path>
              </a:pathLst>
            </a:custGeom>
            <a:solidFill>
              <a:srgbClr val="CAE4C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1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478301" y="5409088"/>
              <a:ext cx="132321" cy="132969"/>
            </a:xfrm>
            <a:prstGeom prst="rect">
              <a:avLst/>
            </a:prstGeom>
          </p:spPr>
        </p:pic>
      </p:grpSp>
      <p:sp>
        <p:nvSpPr>
          <p:cNvPr id="29" name="object 20"/>
          <p:cNvSpPr/>
          <p:nvPr/>
        </p:nvSpPr>
        <p:spPr>
          <a:xfrm>
            <a:off x="327789" y="2371781"/>
            <a:ext cx="2357120" cy="1333500"/>
          </a:xfrm>
          <a:custGeom>
            <a:avLst/>
            <a:gdLst/>
            <a:ahLst/>
            <a:cxnLst/>
            <a:rect l="l" t="t" r="r" b="b"/>
            <a:pathLst>
              <a:path w="2357120" h="1333500">
                <a:moveTo>
                  <a:pt x="639605" y="838199"/>
                </a:moveTo>
                <a:lnTo>
                  <a:pt x="492435" y="838199"/>
                </a:lnTo>
                <a:lnTo>
                  <a:pt x="498944" y="850899"/>
                </a:lnTo>
                <a:lnTo>
                  <a:pt x="512219" y="863599"/>
                </a:lnTo>
                <a:lnTo>
                  <a:pt x="525683" y="876299"/>
                </a:lnTo>
                <a:lnTo>
                  <a:pt x="539344" y="888999"/>
                </a:lnTo>
                <a:lnTo>
                  <a:pt x="553212" y="914399"/>
                </a:lnTo>
                <a:lnTo>
                  <a:pt x="589398" y="952499"/>
                </a:lnTo>
                <a:lnTo>
                  <a:pt x="626207" y="977899"/>
                </a:lnTo>
                <a:lnTo>
                  <a:pt x="663646" y="1015999"/>
                </a:lnTo>
                <a:lnTo>
                  <a:pt x="701721" y="1054099"/>
                </a:lnTo>
                <a:lnTo>
                  <a:pt x="740438" y="1092199"/>
                </a:lnTo>
                <a:lnTo>
                  <a:pt x="779805" y="1130299"/>
                </a:lnTo>
                <a:lnTo>
                  <a:pt x="851947" y="1181099"/>
                </a:lnTo>
                <a:lnTo>
                  <a:pt x="888218" y="1219199"/>
                </a:lnTo>
                <a:lnTo>
                  <a:pt x="924833" y="1244599"/>
                </a:lnTo>
                <a:lnTo>
                  <a:pt x="961948" y="1282699"/>
                </a:lnTo>
                <a:lnTo>
                  <a:pt x="999718" y="1308099"/>
                </a:lnTo>
                <a:lnTo>
                  <a:pt x="1035215" y="1320799"/>
                </a:lnTo>
                <a:lnTo>
                  <a:pt x="1074773" y="1333499"/>
                </a:lnTo>
                <a:lnTo>
                  <a:pt x="1155066" y="1333499"/>
                </a:lnTo>
                <a:lnTo>
                  <a:pt x="1190300" y="1308099"/>
                </a:lnTo>
                <a:lnTo>
                  <a:pt x="1218590" y="1269999"/>
                </a:lnTo>
                <a:lnTo>
                  <a:pt x="1458278" y="1269999"/>
                </a:lnTo>
                <a:lnTo>
                  <a:pt x="1487004" y="1231899"/>
                </a:lnTo>
                <a:lnTo>
                  <a:pt x="1082333" y="1231899"/>
                </a:lnTo>
                <a:lnTo>
                  <a:pt x="1073192" y="1219199"/>
                </a:lnTo>
                <a:lnTo>
                  <a:pt x="1064593" y="1219199"/>
                </a:lnTo>
                <a:lnTo>
                  <a:pt x="1056335" y="1206499"/>
                </a:lnTo>
                <a:lnTo>
                  <a:pt x="979842" y="1155699"/>
                </a:lnTo>
                <a:lnTo>
                  <a:pt x="942045" y="1117599"/>
                </a:lnTo>
                <a:lnTo>
                  <a:pt x="904580" y="1092199"/>
                </a:lnTo>
                <a:lnTo>
                  <a:pt x="867472" y="1054099"/>
                </a:lnTo>
                <a:lnTo>
                  <a:pt x="830742" y="1028699"/>
                </a:lnTo>
                <a:lnTo>
                  <a:pt x="794417" y="990599"/>
                </a:lnTo>
                <a:lnTo>
                  <a:pt x="758519" y="952499"/>
                </a:lnTo>
                <a:lnTo>
                  <a:pt x="723073" y="927099"/>
                </a:lnTo>
                <a:lnTo>
                  <a:pt x="688102" y="888999"/>
                </a:lnTo>
                <a:lnTo>
                  <a:pt x="653630" y="850899"/>
                </a:lnTo>
                <a:lnTo>
                  <a:pt x="639605" y="838199"/>
                </a:lnTo>
                <a:close/>
              </a:path>
              <a:path w="2357120" h="1333500">
                <a:moveTo>
                  <a:pt x="1458278" y="1269999"/>
                </a:moveTo>
                <a:lnTo>
                  <a:pt x="1252029" y="1269999"/>
                </a:lnTo>
                <a:lnTo>
                  <a:pt x="1293582" y="1295399"/>
                </a:lnTo>
                <a:lnTo>
                  <a:pt x="1337397" y="1308099"/>
                </a:lnTo>
                <a:lnTo>
                  <a:pt x="1381061" y="1308099"/>
                </a:lnTo>
                <a:lnTo>
                  <a:pt x="1422159" y="1295399"/>
                </a:lnTo>
                <a:lnTo>
                  <a:pt x="1458278" y="1269999"/>
                </a:lnTo>
                <a:close/>
              </a:path>
              <a:path w="2357120" h="1333500">
                <a:moveTo>
                  <a:pt x="1089951" y="990599"/>
                </a:moveTo>
                <a:lnTo>
                  <a:pt x="1051038" y="990599"/>
                </a:lnTo>
                <a:lnTo>
                  <a:pt x="1034605" y="1003299"/>
                </a:lnTo>
                <a:lnTo>
                  <a:pt x="1023374" y="1028699"/>
                </a:lnTo>
                <a:lnTo>
                  <a:pt x="1020633" y="1041399"/>
                </a:lnTo>
                <a:lnTo>
                  <a:pt x="1026406" y="1066799"/>
                </a:lnTo>
                <a:lnTo>
                  <a:pt x="1040714" y="1092199"/>
                </a:lnTo>
                <a:lnTo>
                  <a:pt x="1076736" y="1117599"/>
                </a:lnTo>
                <a:lnTo>
                  <a:pt x="1094922" y="1142999"/>
                </a:lnTo>
                <a:lnTo>
                  <a:pt x="1113091" y="1155699"/>
                </a:lnTo>
                <a:lnTo>
                  <a:pt x="1120071" y="1168399"/>
                </a:lnTo>
                <a:lnTo>
                  <a:pt x="1125866" y="1168399"/>
                </a:lnTo>
                <a:lnTo>
                  <a:pt x="1129906" y="1181099"/>
                </a:lnTo>
                <a:lnTo>
                  <a:pt x="1131620" y="1193799"/>
                </a:lnTo>
                <a:lnTo>
                  <a:pt x="1128986" y="1206499"/>
                </a:lnTo>
                <a:lnTo>
                  <a:pt x="1120751" y="1219199"/>
                </a:lnTo>
                <a:lnTo>
                  <a:pt x="1108098" y="1231899"/>
                </a:lnTo>
                <a:lnTo>
                  <a:pt x="1487004" y="1231899"/>
                </a:lnTo>
                <a:lnTo>
                  <a:pt x="1495825" y="1219199"/>
                </a:lnTo>
                <a:lnTo>
                  <a:pt x="1506866" y="1206499"/>
                </a:lnTo>
                <a:lnTo>
                  <a:pt x="1519914" y="1193799"/>
                </a:lnTo>
                <a:lnTo>
                  <a:pt x="1336645" y="1193799"/>
                </a:lnTo>
                <a:lnTo>
                  <a:pt x="1320012" y="1181099"/>
                </a:lnTo>
                <a:lnTo>
                  <a:pt x="1283663" y="1155699"/>
                </a:lnTo>
                <a:lnTo>
                  <a:pt x="1247587" y="1117599"/>
                </a:lnTo>
                <a:lnTo>
                  <a:pt x="1211631" y="1092199"/>
                </a:lnTo>
                <a:lnTo>
                  <a:pt x="1175639" y="1054099"/>
                </a:lnTo>
                <a:lnTo>
                  <a:pt x="1144152" y="1028699"/>
                </a:lnTo>
                <a:lnTo>
                  <a:pt x="1128204" y="1015999"/>
                </a:lnTo>
                <a:lnTo>
                  <a:pt x="1111770" y="1003299"/>
                </a:lnTo>
                <a:lnTo>
                  <a:pt x="1089951" y="990599"/>
                </a:lnTo>
                <a:close/>
              </a:path>
              <a:path w="2357120" h="1333500">
                <a:moveTo>
                  <a:pt x="1255693" y="876299"/>
                </a:moveTo>
                <a:lnTo>
                  <a:pt x="1209013" y="876299"/>
                </a:lnTo>
                <a:lnTo>
                  <a:pt x="1196162" y="888999"/>
                </a:lnTo>
                <a:lnTo>
                  <a:pt x="1186482" y="901699"/>
                </a:lnTo>
                <a:lnTo>
                  <a:pt x="1180731" y="914399"/>
                </a:lnTo>
                <a:lnTo>
                  <a:pt x="1180028" y="927099"/>
                </a:lnTo>
                <a:lnTo>
                  <a:pt x="1184633" y="952499"/>
                </a:lnTo>
                <a:lnTo>
                  <a:pt x="1193472" y="965199"/>
                </a:lnTo>
                <a:lnTo>
                  <a:pt x="1205471" y="977899"/>
                </a:lnTo>
                <a:lnTo>
                  <a:pt x="1278805" y="1028699"/>
                </a:lnTo>
                <a:lnTo>
                  <a:pt x="1315572" y="1066799"/>
                </a:lnTo>
                <a:lnTo>
                  <a:pt x="1352283" y="1092199"/>
                </a:lnTo>
                <a:lnTo>
                  <a:pt x="1359082" y="1104899"/>
                </a:lnTo>
                <a:lnTo>
                  <a:pt x="1365754" y="1104899"/>
                </a:lnTo>
                <a:lnTo>
                  <a:pt x="1372203" y="1117599"/>
                </a:lnTo>
                <a:lnTo>
                  <a:pt x="1378331" y="1117599"/>
                </a:lnTo>
                <a:lnTo>
                  <a:pt x="1388771" y="1130299"/>
                </a:lnTo>
                <a:lnTo>
                  <a:pt x="1392820" y="1155699"/>
                </a:lnTo>
                <a:lnTo>
                  <a:pt x="1390484" y="1168399"/>
                </a:lnTo>
                <a:lnTo>
                  <a:pt x="1381772" y="1181099"/>
                </a:lnTo>
                <a:lnTo>
                  <a:pt x="1368482" y="1193799"/>
                </a:lnTo>
                <a:lnTo>
                  <a:pt x="1534756" y="1193799"/>
                </a:lnTo>
                <a:lnTo>
                  <a:pt x="1591076" y="1181099"/>
                </a:lnTo>
                <a:lnTo>
                  <a:pt x="1633910" y="1155699"/>
                </a:lnTo>
                <a:lnTo>
                  <a:pt x="1665007" y="1117599"/>
                </a:lnTo>
                <a:lnTo>
                  <a:pt x="1680838" y="1079499"/>
                </a:lnTo>
                <a:lnTo>
                  <a:pt x="1512022" y="1079499"/>
                </a:lnTo>
                <a:lnTo>
                  <a:pt x="1492516" y="1066799"/>
                </a:lnTo>
                <a:lnTo>
                  <a:pt x="1450178" y="1028699"/>
                </a:lnTo>
                <a:lnTo>
                  <a:pt x="1407955" y="1003299"/>
                </a:lnTo>
                <a:lnTo>
                  <a:pt x="1281239" y="888999"/>
                </a:lnTo>
                <a:lnTo>
                  <a:pt x="1268889" y="888999"/>
                </a:lnTo>
                <a:lnTo>
                  <a:pt x="1255693" y="876299"/>
                </a:lnTo>
                <a:close/>
              </a:path>
              <a:path w="2357120" h="1333500">
                <a:moveTo>
                  <a:pt x="1395924" y="723899"/>
                </a:moveTo>
                <a:lnTo>
                  <a:pt x="1379340" y="723899"/>
                </a:lnTo>
                <a:lnTo>
                  <a:pt x="1363585" y="736599"/>
                </a:lnTo>
                <a:lnTo>
                  <a:pt x="1348968" y="749299"/>
                </a:lnTo>
                <a:lnTo>
                  <a:pt x="1339402" y="761999"/>
                </a:lnTo>
                <a:lnTo>
                  <a:pt x="1335362" y="774699"/>
                </a:lnTo>
                <a:lnTo>
                  <a:pt x="1337143" y="800099"/>
                </a:lnTo>
                <a:lnTo>
                  <a:pt x="1345044" y="812799"/>
                </a:lnTo>
                <a:lnTo>
                  <a:pt x="1364682" y="838199"/>
                </a:lnTo>
                <a:lnTo>
                  <a:pt x="1386954" y="850899"/>
                </a:lnTo>
                <a:lnTo>
                  <a:pt x="1410331" y="876299"/>
                </a:lnTo>
                <a:lnTo>
                  <a:pt x="1433283" y="888999"/>
                </a:lnTo>
                <a:lnTo>
                  <a:pt x="1463954" y="914399"/>
                </a:lnTo>
                <a:lnTo>
                  <a:pt x="1526052" y="965199"/>
                </a:lnTo>
                <a:lnTo>
                  <a:pt x="1556651" y="990599"/>
                </a:lnTo>
                <a:lnTo>
                  <a:pt x="1572115" y="1015999"/>
                </a:lnTo>
                <a:lnTo>
                  <a:pt x="1578711" y="1028699"/>
                </a:lnTo>
                <a:lnTo>
                  <a:pt x="1576668" y="1054099"/>
                </a:lnTo>
                <a:lnTo>
                  <a:pt x="1566214" y="1066799"/>
                </a:lnTo>
                <a:lnTo>
                  <a:pt x="1550795" y="1079499"/>
                </a:lnTo>
                <a:lnTo>
                  <a:pt x="1680838" y="1079499"/>
                </a:lnTo>
                <a:lnTo>
                  <a:pt x="1686115" y="1066799"/>
                </a:lnTo>
                <a:lnTo>
                  <a:pt x="1690862" y="1054099"/>
                </a:lnTo>
                <a:lnTo>
                  <a:pt x="1697723" y="1054099"/>
                </a:lnTo>
                <a:lnTo>
                  <a:pt x="1707089" y="1041399"/>
                </a:lnTo>
                <a:lnTo>
                  <a:pt x="1750757" y="1028699"/>
                </a:lnTo>
                <a:lnTo>
                  <a:pt x="1777579" y="1003299"/>
                </a:lnTo>
                <a:lnTo>
                  <a:pt x="1799702" y="977899"/>
                </a:lnTo>
                <a:lnTo>
                  <a:pt x="1817014" y="952499"/>
                </a:lnTo>
                <a:lnTo>
                  <a:pt x="1819656" y="952499"/>
                </a:lnTo>
                <a:lnTo>
                  <a:pt x="1822340" y="939799"/>
                </a:lnTo>
                <a:lnTo>
                  <a:pt x="1825231" y="939799"/>
                </a:lnTo>
                <a:lnTo>
                  <a:pt x="1828495" y="927099"/>
                </a:lnTo>
                <a:lnTo>
                  <a:pt x="1654676" y="927099"/>
                </a:lnTo>
                <a:lnTo>
                  <a:pt x="1633397" y="914399"/>
                </a:lnTo>
                <a:lnTo>
                  <a:pt x="1594658" y="876299"/>
                </a:lnTo>
                <a:lnTo>
                  <a:pt x="1556011" y="850899"/>
                </a:lnTo>
                <a:lnTo>
                  <a:pt x="1478795" y="787399"/>
                </a:lnTo>
                <a:lnTo>
                  <a:pt x="1440129" y="749299"/>
                </a:lnTo>
                <a:lnTo>
                  <a:pt x="1433701" y="749299"/>
                </a:lnTo>
                <a:lnTo>
                  <a:pt x="1427045" y="736599"/>
                </a:lnTo>
                <a:lnTo>
                  <a:pt x="1413027" y="736599"/>
                </a:lnTo>
                <a:lnTo>
                  <a:pt x="1395924" y="723899"/>
                </a:lnTo>
                <a:close/>
              </a:path>
              <a:path w="2357120" h="1333500">
                <a:moveTo>
                  <a:pt x="2138411" y="914399"/>
                </a:moveTo>
                <a:lnTo>
                  <a:pt x="1880223" y="914399"/>
                </a:lnTo>
                <a:lnTo>
                  <a:pt x="1892528" y="927099"/>
                </a:lnTo>
                <a:lnTo>
                  <a:pt x="1909888" y="952499"/>
                </a:lnTo>
                <a:lnTo>
                  <a:pt x="1927672" y="965199"/>
                </a:lnTo>
                <a:lnTo>
                  <a:pt x="1981962" y="965199"/>
                </a:lnTo>
                <a:lnTo>
                  <a:pt x="2086240" y="939799"/>
                </a:lnTo>
                <a:lnTo>
                  <a:pt x="2138411" y="914399"/>
                </a:lnTo>
                <a:close/>
              </a:path>
              <a:path w="2357120" h="1333500">
                <a:moveTo>
                  <a:pt x="288366" y="0"/>
                </a:moveTo>
                <a:lnTo>
                  <a:pt x="235899" y="0"/>
                </a:lnTo>
                <a:lnTo>
                  <a:pt x="218739" y="12699"/>
                </a:lnTo>
                <a:lnTo>
                  <a:pt x="206387" y="38099"/>
                </a:lnTo>
                <a:lnTo>
                  <a:pt x="197029" y="76199"/>
                </a:lnTo>
                <a:lnTo>
                  <a:pt x="187980" y="101599"/>
                </a:lnTo>
                <a:lnTo>
                  <a:pt x="179143" y="139699"/>
                </a:lnTo>
                <a:lnTo>
                  <a:pt x="170421" y="165099"/>
                </a:lnTo>
                <a:lnTo>
                  <a:pt x="128619" y="317499"/>
                </a:lnTo>
                <a:lnTo>
                  <a:pt x="100784" y="406399"/>
                </a:lnTo>
                <a:lnTo>
                  <a:pt x="86911" y="457199"/>
                </a:lnTo>
                <a:lnTo>
                  <a:pt x="73085" y="507999"/>
                </a:lnTo>
                <a:lnTo>
                  <a:pt x="59318" y="558799"/>
                </a:lnTo>
                <a:lnTo>
                  <a:pt x="45620" y="609599"/>
                </a:lnTo>
                <a:lnTo>
                  <a:pt x="32004" y="660399"/>
                </a:lnTo>
                <a:lnTo>
                  <a:pt x="22015" y="685799"/>
                </a:lnTo>
                <a:lnTo>
                  <a:pt x="11806" y="723899"/>
                </a:lnTo>
                <a:lnTo>
                  <a:pt x="3695" y="749299"/>
                </a:lnTo>
                <a:lnTo>
                  <a:pt x="0" y="787399"/>
                </a:lnTo>
                <a:lnTo>
                  <a:pt x="8524" y="825499"/>
                </a:lnTo>
                <a:lnTo>
                  <a:pt x="41300" y="850899"/>
                </a:lnTo>
                <a:lnTo>
                  <a:pt x="291145" y="914399"/>
                </a:lnTo>
                <a:lnTo>
                  <a:pt x="341181" y="939799"/>
                </a:lnTo>
                <a:lnTo>
                  <a:pt x="391236" y="952499"/>
                </a:lnTo>
                <a:lnTo>
                  <a:pt x="433490" y="952499"/>
                </a:lnTo>
                <a:lnTo>
                  <a:pt x="448923" y="927099"/>
                </a:lnTo>
                <a:lnTo>
                  <a:pt x="460057" y="914399"/>
                </a:lnTo>
                <a:lnTo>
                  <a:pt x="465417" y="901699"/>
                </a:lnTo>
                <a:lnTo>
                  <a:pt x="470430" y="888999"/>
                </a:lnTo>
                <a:lnTo>
                  <a:pt x="475123" y="863599"/>
                </a:lnTo>
                <a:lnTo>
                  <a:pt x="479526" y="850899"/>
                </a:lnTo>
                <a:lnTo>
                  <a:pt x="483078" y="838199"/>
                </a:lnTo>
                <a:lnTo>
                  <a:pt x="639605" y="838199"/>
                </a:lnTo>
                <a:lnTo>
                  <a:pt x="625580" y="825499"/>
                </a:lnTo>
                <a:lnTo>
                  <a:pt x="355982" y="825499"/>
                </a:lnTo>
                <a:lnTo>
                  <a:pt x="336842" y="812799"/>
                </a:lnTo>
                <a:lnTo>
                  <a:pt x="141046" y="761999"/>
                </a:lnTo>
                <a:lnTo>
                  <a:pt x="128962" y="761999"/>
                </a:lnTo>
                <a:lnTo>
                  <a:pt x="124198" y="749299"/>
                </a:lnTo>
                <a:lnTo>
                  <a:pt x="141049" y="673099"/>
                </a:lnTo>
                <a:lnTo>
                  <a:pt x="155244" y="622299"/>
                </a:lnTo>
                <a:lnTo>
                  <a:pt x="169487" y="571499"/>
                </a:lnTo>
                <a:lnTo>
                  <a:pt x="183680" y="520699"/>
                </a:lnTo>
                <a:lnTo>
                  <a:pt x="255000" y="266699"/>
                </a:lnTo>
                <a:lnTo>
                  <a:pt x="283438" y="165099"/>
                </a:lnTo>
                <a:lnTo>
                  <a:pt x="292772" y="139699"/>
                </a:lnTo>
                <a:lnTo>
                  <a:pt x="302753" y="126999"/>
                </a:lnTo>
                <a:lnTo>
                  <a:pt x="695710" y="126999"/>
                </a:lnTo>
                <a:lnTo>
                  <a:pt x="663296" y="114299"/>
                </a:lnTo>
                <a:lnTo>
                  <a:pt x="633120" y="101599"/>
                </a:lnTo>
                <a:lnTo>
                  <a:pt x="628548" y="88899"/>
                </a:lnTo>
                <a:lnTo>
                  <a:pt x="619061" y="88899"/>
                </a:lnTo>
                <a:lnTo>
                  <a:pt x="288366" y="0"/>
                </a:lnTo>
                <a:close/>
              </a:path>
              <a:path w="2357120" h="1333500">
                <a:moveTo>
                  <a:pt x="1411769" y="457199"/>
                </a:moveTo>
                <a:lnTo>
                  <a:pt x="1203266" y="457199"/>
                </a:lnTo>
                <a:lnTo>
                  <a:pt x="1228305" y="469899"/>
                </a:lnTo>
                <a:lnTo>
                  <a:pt x="1251678" y="469899"/>
                </a:lnTo>
                <a:lnTo>
                  <a:pt x="1273543" y="495299"/>
                </a:lnTo>
                <a:lnTo>
                  <a:pt x="1312020" y="520699"/>
                </a:lnTo>
                <a:lnTo>
                  <a:pt x="1696300" y="838199"/>
                </a:lnTo>
                <a:lnTo>
                  <a:pt x="1713507" y="850899"/>
                </a:lnTo>
                <a:lnTo>
                  <a:pt x="1721815" y="876299"/>
                </a:lnTo>
                <a:lnTo>
                  <a:pt x="1721007" y="901699"/>
                </a:lnTo>
                <a:lnTo>
                  <a:pt x="1710867" y="914399"/>
                </a:lnTo>
                <a:lnTo>
                  <a:pt x="1694953" y="927099"/>
                </a:lnTo>
                <a:lnTo>
                  <a:pt x="1828495" y="927099"/>
                </a:lnTo>
                <a:lnTo>
                  <a:pt x="1842943" y="914399"/>
                </a:lnTo>
                <a:lnTo>
                  <a:pt x="2138411" y="914399"/>
                </a:lnTo>
                <a:lnTo>
                  <a:pt x="2295080" y="876299"/>
                </a:lnTo>
                <a:lnTo>
                  <a:pt x="2329991" y="863599"/>
                </a:lnTo>
                <a:lnTo>
                  <a:pt x="2350262" y="838199"/>
                </a:lnTo>
                <a:lnTo>
                  <a:pt x="1981046" y="838199"/>
                </a:lnTo>
                <a:lnTo>
                  <a:pt x="1976170" y="825499"/>
                </a:lnTo>
                <a:lnTo>
                  <a:pt x="1972933" y="812799"/>
                </a:lnTo>
                <a:lnTo>
                  <a:pt x="1825582" y="812799"/>
                </a:lnTo>
                <a:lnTo>
                  <a:pt x="1817118" y="800099"/>
                </a:lnTo>
                <a:lnTo>
                  <a:pt x="1809889" y="800099"/>
                </a:lnTo>
                <a:lnTo>
                  <a:pt x="1787791" y="774699"/>
                </a:lnTo>
                <a:lnTo>
                  <a:pt x="1762174" y="749299"/>
                </a:lnTo>
                <a:lnTo>
                  <a:pt x="1707400" y="698499"/>
                </a:lnTo>
                <a:lnTo>
                  <a:pt x="1631735" y="647699"/>
                </a:lnTo>
                <a:lnTo>
                  <a:pt x="1593847" y="609599"/>
                </a:lnTo>
                <a:lnTo>
                  <a:pt x="1555933" y="584199"/>
                </a:lnTo>
                <a:lnTo>
                  <a:pt x="1442115" y="482599"/>
                </a:lnTo>
                <a:lnTo>
                  <a:pt x="1411769" y="457199"/>
                </a:lnTo>
                <a:close/>
              </a:path>
              <a:path w="2357120" h="1333500">
                <a:moveTo>
                  <a:pt x="2172148" y="139699"/>
                </a:moveTo>
                <a:lnTo>
                  <a:pt x="2052802" y="139699"/>
                </a:lnTo>
                <a:lnTo>
                  <a:pt x="2059021" y="152399"/>
                </a:lnTo>
                <a:lnTo>
                  <a:pt x="2063254" y="165099"/>
                </a:lnTo>
                <a:lnTo>
                  <a:pt x="2076248" y="215899"/>
                </a:lnTo>
                <a:lnTo>
                  <a:pt x="2102397" y="304799"/>
                </a:lnTo>
                <a:lnTo>
                  <a:pt x="2115426" y="342899"/>
                </a:lnTo>
                <a:lnTo>
                  <a:pt x="2142493" y="444499"/>
                </a:lnTo>
                <a:lnTo>
                  <a:pt x="2230043" y="749299"/>
                </a:lnTo>
                <a:lnTo>
                  <a:pt x="2231637" y="761999"/>
                </a:lnTo>
                <a:lnTo>
                  <a:pt x="2229864" y="774699"/>
                </a:lnTo>
                <a:lnTo>
                  <a:pt x="2224298" y="774699"/>
                </a:lnTo>
                <a:lnTo>
                  <a:pt x="2214511" y="787399"/>
                </a:lnTo>
                <a:lnTo>
                  <a:pt x="2011387" y="838199"/>
                </a:lnTo>
                <a:lnTo>
                  <a:pt x="2350262" y="838199"/>
                </a:lnTo>
                <a:lnTo>
                  <a:pt x="2357102" y="812799"/>
                </a:lnTo>
                <a:lnTo>
                  <a:pt x="2351722" y="774699"/>
                </a:lnTo>
                <a:lnTo>
                  <a:pt x="2339449" y="736599"/>
                </a:lnTo>
                <a:lnTo>
                  <a:pt x="2326713" y="685799"/>
                </a:lnTo>
                <a:lnTo>
                  <a:pt x="2300770" y="596899"/>
                </a:lnTo>
                <a:lnTo>
                  <a:pt x="2262099" y="457199"/>
                </a:lnTo>
                <a:lnTo>
                  <a:pt x="2236261" y="368299"/>
                </a:lnTo>
                <a:lnTo>
                  <a:pt x="2195137" y="215899"/>
                </a:lnTo>
                <a:lnTo>
                  <a:pt x="2179874" y="165099"/>
                </a:lnTo>
                <a:lnTo>
                  <a:pt x="2172148" y="139699"/>
                </a:lnTo>
                <a:close/>
              </a:path>
              <a:path w="2357120" h="1333500">
                <a:moveTo>
                  <a:pt x="1256324" y="50799"/>
                </a:moveTo>
                <a:lnTo>
                  <a:pt x="1160221" y="50799"/>
                </a:lnTo>
                <a:lnTo>
                  <a:pt x="1018540" y="88899"/>
                </a:lnTo>
                <a:lnTo>
                  <a:pt x="1001157" y="101599"/>
                </a:lnTo>
                <a:lnTo>
                  <a:pt x="947686" y="101599"/>
                </a:lnTo>
                <a:lnTo>
                  <a:pt x="901366" y="114299"/>
                </a:lnTo>
                <a:lnTo>
                  <a:pt x="762368" y="114299"/>
                </a:lnTo>
                <a:lnTo>
                  <a:pt x="729141" y="126999"/>
                </a:lnTo>
                <a:lnTo>
                  <a:pt x="350024" y="126999"/>
                </a:lnTo>
                <a:lnTo>
                  <a:pt x="519252" y="177799"/>
                </a:lnTo>
                <a:lnTo>
                  <a:pt x="529017" y="177799"/>
                </a:lnTo>
                <a:lnTo>
                  <a:pt x="537770" y="190499"/>
                </a:lnTo>
                <a:lnTo>
                  <a:pt x="543839" y="190499"/>
                </a:lnTo>
                <a:lnTo>
                  <a:pt x="545553" y="203199"/>
                </a:lnTo>
                <a:lnTo>
                  <a:pt x="533661" y="253999"/>
                </a:lnTo>
                <a:lnTo>
                  <a:pt x="520750" y="304799"/>
                </a:lnTo>
                <a:lnTo>
                  <a:pt x="507622" y="342899"/>
                </a:lnTo>
                <a:lnTo>
                  <a:pt x="494451" y="393699"/>
                </a:lnTo>
                <a:lnTo>
                  <a:pt x="454862" y="533399"/>
                </a:lnTo>
                <a:lnTo>
                  <a:pt x="441701" y="571499"/>
                </a:lnTo>
                <a:lnTo>
                  <a:pt x="428586" y="622299"/>
                </a:lnTo>
                <a:lnTo>
                  <a:pt x="416752" y="660399"/>
                </a:lnTo>
                <a:lnTo>
                  <a:pt x="393464" y="749299"/>
                </a:lnTo>
                <a:lnTo>
                  <a:pt x="381673" y="787399"/>
                </a:lnTo>
                <a:lnTo>
                  <a:pt x="375312" y="812799"/>
                </a:lnTo>
                <a:lnTo>
                  <a:pt x="367777" y="825499"/>
                </a:lnTo>
                <a:lnTo>
                  <a:pt x="625580" y="825499"/>
                </a:lnTo>
                <a:lnTo>
                  <a:pt x="598506" y="800099"/>
                </a:lnTo>
                <a:lnTo>
                  <a:pt x="572727" y="761999"/>
                </a:lnTo>
                <a:lnTo>
                  <a:pt x="548563" y="736599"/>
                </a:lnTo>
                <a:lnTo>
                  <a:pt x="537985" y="711199"/>
                </a:lnTo>
                <a:lnTo>
                  <a:pt x="531733" y="698499"/>
                </a:lnTo>
                <a:lnTo>
                  <a:pt x="530372" y="673099"/>
                </a:lnTo>
                <a:lnTo>
                  <a:pt x="534466" y="647699"/>
                </a:lnTo>
                <a:lnTo>
                  <a:pt x="548589" y="609599"/>
                </a:lnTo>
                <a:lnTo>
                  <a:pt x="562450" y="558799"/>
                </a:lnTo>
                <a:lnTo>
                  <a:pt x="576089" y="507999"/>
                </a:lnTo>
                <a:lnTo>
                  <a:pt x="589549" y="457199"/>
                </a:lnTo>
                <a:lnTo>
                  <a:pt x="602873" y="419099"/>
                </a:lnTo>
                <a:lnTo>
                  <a:pt x="616102" y="368299"/>
                </a:lnTo>
                <a:lnTo>
                  <a:pt x="642442" y="266699"/>
                </a:lnTo>
                <a:lnTo>
                  <a:pt x="647770" y="253999"/>
                </a:lnTo>
                <a:lnTo>
                  <a:pt x="655499" y="253999"/>
                </a:lnTo>
                <a:lnTo>
                  <a:pt x="666279" y="241299"/>
                </a:lnTo>
                <a:lnTo>
                  <a:pt x="680758" y="241299"/>
                </a:lnTo>
                <a:lnTo>
                  <a:pt x="713537" y="228599"/>
                </a:lnTo>
                <a:lnTo>
                  <a:pt x="1004000" y="228599"/>
                </a:lnTo>
                <a:lnTo>
                  <a:pt x="1032709" y="203199"/>
                </a:lnTo>
                <a:lnTo>
                  <a:pt x="1079504" y="177799"/>
                </a:lnTo>
                <a:lnTo>
                  <a:pt x="1129916" y="165099"/>
                </a:lnTo>
                <a:lnTo>
                  <a:pt x="1583524" y="165099"/>
                </a:lnTo>
                <a:lnTo>
                  <a:pt x="1538460" y="139699"/>
                </a:lnTo>
                <a:lnTo>
                  <a:pt x="1492970" y="126999"/>
                </a:lnTo>
                <a:lnTo>
                  <a:pt x="1447010" y="101599"/>
                </a:lnTo>
                <a:lnTo>
                  <a:pt x="1353502" y="76199"/>
                </a:lnTo>
                <a:lnTo>
                  <a:pt x="1256324" y="50799"/>
                </a:lnTo>
                <a:close/>
              </a:path>
              <a:path w="2357120" h="1333500">
                <a:moveTo>
                  <a:pt x="1583524" y="165099"/>
                </a:moveTo>
                <a:lnTo>
                  <a:pt x="1265855" y="165099"/>
                </a:lnTo>
                <a:lnTo>
                  <a:pt x="1346022" y="190499"/>
                </a:lnTo>
                <a:lnTo>
                  <a:pt x="1474964" y="228599"/>
                </a:lnTo>
                <a:lnTo>
                  <a:pt x="1557667" y="279399"/>
                </a:lnTo>
                <a:lnTo>
                  <a:pt x="1700801" y="279399"/>
                </a:lnTo>
                <a:lnTo>
                  <a:pt x="1710076" y="292099"/>
                </a:lnTo>
                <a:lnTo>
                  <a:pt x="1717573" y="304799"/>
                </a:lnTo>
                <a:lnTo>
                  <a:pt x="1783654" y="546099"/>
                </a:lnTo>
                <a:lnTo>
                  <a:pt x="1823240" y="685799"/>
                </a:lnTo>
                <a:lnTo>
                  <a:pt x="1849564" y="774699"/>
                </a:lnTo>
                <a:lnTo>
                  <a:pt x="1852114" y="787399"/>
                </a:lnTo>
                <a:lnTo>
                  <a:pt x="1853853" y="787399"/>
                </a:lnTo>
                <a:lnTo>
                  <a:pt x="1852121" y="800099"/>
                </a:lnTo>
                <a:lnTo>
                  <a:pt x="1844255" y="800099"/>
                </a:lnTo>
                <a:lnTo>
                  <a:pt x="1834791" y="812799"/>
                </a:lnTo>
                <a:lnTo>
                  <a:pt x="1972933" y="812799"/>
                </a:lnTo>
                <a:lnTo>
                  <a:pt x="1963222" y="774699"/>
                </a:lnTo>
                <a:lnTo>
                  <a:pt x="1950174" y="723899"/>
                </a:lnTo>
                <a:lnTo>
                  <a:pt x="1937061" y="685799"/>
                </a:lnTo>
                <a:lnTo>
                  <a:pt x="1923921" y="634999"/>
                </a:lnTo>
                <a:lnTo>
                  <a:pt x="1814080" y="241299"/>
                </a:lnTo>
                <a:lnTo>
                  <a:pt x="1811743" y="241299"/>
                </a:lnTo>
                <a:lnTo>
                  <a:pt x="1811020" y="228599"/>
                </a:lnTo>
                <a:lnTo>
                  <a:pt x="1811454" y="215899"/>
                </a:lnTo>
                <a:lnTo>
                  <a:pt x="1814883" y="215899"/>
                </a:lnTo>
                <a:lnTo>
                  <a:pt x="1820899" y="203199"/>
                </a:lnTo>
                <a:lnTo>
                  <a:pt x="1829092" y="203199"/>
                </a:lnTo>
                <a:lnTo>
                  <a:pt x="1930592" y="177799"/>
                </a:lnTo>
                <a:lnTo>
                  <a:pt x="1616891" y="177799"/>
                </a:lnTo>
                <a:lnTo>
                  <a:pt x="1583524" y="165099"/>
                </a:lnTo>
                <a:close/>
              </a:path>
              <a:path w="2357120" h="1333500">
                <a:moveTo>
                  <a:pt x="1004000" y="228599"/>
                </a:moveTo>
                <a:lnTo>
                  <a:pt x="840921" y="228599"/>
                </a:lnTo>
                <a:lnTo>
                  <a:pt x="835291" y="241299"/>
                </a:lnTo>
                <a:lnTo>
                  <a:pt x="808913" y="279399"/>
                </a:lnTo>
                <a:lnTo>
                  <a:pt x="787838" y="330199"/>
                </a:lnTo>
                <a:lnTo>
                  <a:pt x="771401" y="380999"/>
                </a:lnTo>
                <a:lnTo>
                  <a:pt x="758939" y="419099"/>
                </a:lnTo>
                <a:lnTo>
                  <a:pt x="754951" y="469899"/>
                </a:lnTo>
                <a:lnTo>
                  <a:pt x="762484" y="520699"/>
                </a:lnTo>
                <a:lnTo>
                  <a:pt x="780242" y="558799"/>
                </a:lnTo>
                <a:lnTo>
                  <a:pt x="806928" y="596899"/>
                </a:lnTo>
                <a:lnTo>
                  <a:pt x="841247" y="622299"/>
                </a:lnTo>
                <a:lnTo>
                  <a:pt x="869386" y="634999"/>
                </a:lnTo>
                <a:lnTo>
                  <a:pt x="926206" y="634999"/>
                </a:lnTo>
                <a:lnTo>
                  <a:pt x="954824" y="622299"/>
                </a:lnTo>
                <a:lnTo>
                  <a:pt x="993412" y="609599"/>
                </a:lnTo>
                <a:lnTo>
                  <a:pt x="1028350" y="584199"/>
                </a:lnTo>
                <a:lnTo>
                  <a:pt x="1059755" y="558799"/>
                </a:lnTo>
                <a:lnTo>
                  <a:pt x="1087742" y="520699"/>
                </a:lnTo>
                <a:lnTo>
                  <a:pt x="887031" y="520699"/>
                </a:lnTo>
                <a:lnTo>
                  <a:pt x="874470" y="507999"/>
                </a:lnTo>
                <a:lnTo>
                  <a:pt x="869037" y="495299"/>
                </a:lnTo>
                <a:lnTo>
                  <a:pt x="867788" y="469899"/>
                </a:lnTo>
                <a:lnTo>
                  <a:pt x="867778" y="457199"/>
                </a:lnTo>
                <a:lnTo>
                  <a:pt x="875477" y="406399"/>
                </a:lnTo>
                <a:lnTo>
                  <a:pt x="892787" y="355599"/>
                </a:lnTo>
                <a:lnTo>
                  <a:pt x="918256" y="317499"/>
                </a:lnTo>
                <a:lnTo>
                  <a:pt x="950429" y="279399"/>
                </a:lnTo>
                <a:lnTo>
                  <a:pt x="989646" y="241299"/>
                </a:lnTo>
                <a:lnTo>
                  <a:pt x="1004000" y="228599"/>
                </a:lnTo>
                <a:close/>
              </a:path>
              <a:path w="2357120" h="1333500">
                <a:moveTo>
                  <a:pt x="1270715" y="342899"/>
                </a:moveTo>
                <a:lnTo>
                  <a:pt x="1205268" y="342899"/>
                </a:lnTo>
                <a:lnTo>
                  <a:pt x="1184051" y="355599"/>
                </a:lnTo>
                <a:lnTo>
                  <a:pt x="1162605" y="355599"/>
                </a:lnTo>
                <a:lnTo>
                  <a:pt x="1140974" y="368299"/>
                </a:lnTo>
                <a:lnTo>
                  <a:pt x="1119200" y="368299"/>
                </a:lnTo>
                <a:lnTo>
                  <a:pt x="1091607" y="380999"/>
                </a:lnTo>
                <a:lnTo>
                  <a:pt x="1067339" y="393699"/>
                </a:lnTo>
                <a:lnTo>
                  <a:pt x="1045833" y="406399"/>
                </a:lnTo>
                <a:lnTo>
                  <a:pt x="1026528" y="431799"/>
                </a:lnTo>
                <a:lnTo>
                  <a:pt x="1009281" y="444499"/>
                </a:lnTo>
                <a:lnTo>
                  <a:pt x="990955" y="469899"/>
                </a:lnTo>
                <a:lnTo>
                  <a:pt x="971324" y="482599"/>
                </a:lnTo>
                <a:lnTo>
                  <a:pt x="950163" y="507999"/>
                </a:lnTo>
                <a:lnTo>
                  <a:pt x="935466" y="507999"/>
                </a:lnTo>
                <a:lnTo>
                  <a:pt x="920073" y="520699"/>
                </a:lnTo>
                <a:lnTo>
                  <a:pt x="1087742" y="520699"/>
                </a:lnTo>
                <a:lnTo>
                  <a:pt x="1106365" y="507999"/>
                </a:lnTo>
                <a:lnTo>
                  <a:pt x="1127228" y="495299"/>
                </a:lnTo>
                <a:lnTo>
                  <a:pt x="1150512" y="469899"/>
                </a:lnTo>
                <a:lnTo>
                  <a:pt x="1176401" y="469899"/>
                </a:lnTo>
                <a:lnTo>
                  <a:pt x="1203266" y="457199"/>
                </a:lnTo>
                <a:lnTo>
                  <a:pt x="1411769" y="457199"/>
                </a:lnTo>
                <a:lnTo>
                  <a:pt x="1366251" y="419099"/>
                </a:lnTo>
                <a:lnTo>
                  <a:pt x="1290472" y="368299"/>
                </a:lnTo>
                <a:lnTo>
                  <a:pt x="1270715" y="342899"/>
                </a:lnTo>
                <a:close/>
              </a:path>
              <a:path w="2357120" h="1333500">
                <a:moveTo>
                  <a:pt x="1665008" y="279399"/>
                </a:moveTo>
                <a:lnTo>
                  <a:pt x="1583621" y="279399"/>
                </a:lnTo>
                <a:lnTo>
                  <a:pt x="1609856" y="292099"/>
                </a:lnTo>
                <a:lnTo>
                  <a:pt x="1636832" y="292099"/>
                </a:lnTo>
                <a:lnTo>
                  <a:pt x="1665008" y="279399"/>
                </a:lnTo>
                <a:close/>
              </a:path>
              <a:path w="2357120" h="1333500">
                <a:moveTo>
                  <a:pt x="2100616" y="12699"/>
                </a:moveTo>
                <a:lnTo>
                  <a:pt x="2076526" y="12699"/>
                </a:lnTo>
                <a:lnTo>
                  <a:pt x="2028190" y="25399"/>
                </a:lnTo>
                <a:lnTo>
                  <a:pt x="1979870" y="50799"/>
                </a:lnTo>
                <a:lnTo>
                  <a:pt x="1738490" y="114299"/>
                </a:lnTo>
                <a:lnTo>
                  <a:pt x="1725870" y="114299"/>
                </a:lnTo>
                <a:lnTo>
                  <a:pt x="1713858" y="126999"/>
                </a:lnTo>
                <a:lnTo>
                  <a:pt x="1702760" y="126999"/>
                </a:lnTo>
                <a:lnTo>
                  <a:pt x="1692884" y="139699"/>
                </a:lnTo>
                <a:lnTo>
                  <a:pt x="1668155" y="165099"/>
                </a:lnTo>
                <a:lnTo>
                  <a:pt x="1643962" y="177799"/>
                </a:lnTo>
                <a:lnTo>
                  <a:pt x="1930592" y="177799"/>
                </a:lnTo>
                <a:lnTo>
                  <a:pt x="1981312" y="152399"/>
                </a:lnTo>
                <a:lnTo>
                  <a:pt x="2032025" y="139699"/>
                </a:lnTo>
                <a:lnTo>
                  <a:pt x="2172148" y="139699"/>
                </a:lnTo>
                <a:lnTo>
                  <a:pt x="2164422" y="114299"/>
                </a:lnTo>
                <a:lnTo>
                  <a:pt x="2148636" y="63499"/>
                </a:lnTo>
                <a:lnTo>
                  <a:pt x="2137590" y="38099"/>
                </a:lnTo>
                <a:lnTo>
                  <a:pt x="2121277" y="25399"/>
                </a:lnTo>
                <a:lnTo>
                  <a:pt x="2100616" y="12699"/>
                </a:lnTo>
                <a:close/>
              </a:path>
            </a:pathLst>
          </a:custGeom>
          <a:solidFill>
            <a:srgbClr val="CAE4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21"/>
          <p:cNvSpPr/>
          <p:nvPr/>
        </p:nvSpPr>
        <p:spPr>
          <a:xfrm>
            <a:off x="1023827" y="1339427"/>
            <a:ext cx="982344" cy="984885"/>
          </a:xfrm>
          <a:custGeom>
            <a:avLst/>
            <a:gdLst/>
            <a:ahLst/>
            <a:cxnLst/>
            <a:rect l="l" t="t" r="r" b="b"/>
            <a:pathLst>
              <a:path w="982344" h="984885">
                <a:moveTo>
                  <a:pt x="726668" y="353314"/>
                </a:moveTo>
                <a:lnTo>
                  <a:pt x="717384" y="307606"/>
                </a:lnTo>
                <a:lnTo>
                  <a:pt x="697395" y="267779"/>
                </a:lnTo>
                <a:lnTo>
                  <a:pt x="667639" y="234810"/>
                </a:lnTo>
                <a:lnTo>
                  <a:pt x="640143" y="216903"/>
                </a:lnTo>
                <a:lnTo>
                  <a:pt x="640143" y="356400"/>
                </a:lnTo>
                <a:lnTo>
                  <a:pt x="637692" y="405841"/>
                </a:lnTo>
                <a:lnTo>
                  <a:pt x="623481" y="443623"/>
                </a:lnTo>
                <a:lnTo>
                  <a:pt x="596747" y="470827"/>
                </a:lnTo>
                <a:lnTo>
                  <a:pt x="556717" y="488556"/>
                </a:lnTo>
                <a:lnTo>
                  <a:pt x="498805" y="495592"/>
                </a:lnTo>
                <a:lnTo>
                  <a:pt x="469646" y="494665"/>
                </a:lnTo>
                <a:lnTo>
                  <a:pt x="429602" y="490080"/>
                </a:lnTo>
                <a:lnTo>
                  <a:pt x="416585" y="375767"/>
                </a:lnTo>
                <a:lnTo>
                  <a:pt x="416433" y="375767"/>
                </a:lnTo>
                <a:lnTo>
                  <a:pt x="416318" y="297002"/>
                </a:lnTo>
                <a:lnTo>
                  <a:pt x="435317" y="262851"/>
                </a:lnTo>
                <a:lnTo>
                  <a:pt x="503758" y="260705"/>
                </a:lnTo>
                <a:lnTo>
                  <a:pt x="521512" y="261289"/>
                </a:lnTo>
                <a:lnTo>
                  <a:pt x="584060" y="276174"/>
                </a:lnTo>
                <a:lnTo>
                  <a:pt x="632282" y="322681"/>
                </a:lnTo>
                <a:lnTo>
                  <a:pt x="640143" y="356400"/>
                </a:lnTo>
                <a:lnTo>
                  <a:pt x="640143" y="216903"/>
                </a:lnTo>
                <a:lnTo>
                  <a:pt x="629081" y="209689"/>
                </a:lnTo>
                <a:lnTo>
                  <a:pt x="582650" y="193433"/>
                </a:lnTo>
                <a:lnTo>
                  <a:pt x="533400" y="185801"/>
                </a:lnTo>
                <a:lnTo>
                  <a:pt x="483946" y="183642"/>
                </a:lnTo>
                <a:lnTo>
                  <a:pt x="384835" y="184658"/>
                </a:lnTo>
                <a:lnTo>
                  <a:pt x="345465" y="195326"/>
                </a:lnTo>
                <a:lnTo>
                  <a:pt x="334746" y="234810"/>
                </a:lnTo>
                <a:lnTo>
                  <a:pt x="334505" y="443623"/>
                </a:lnTo>
                <a:lnTo>
                  <a:pt x="334378" y="535597"/>
                </a:lnTo>
                <a:lnTo>
                  <a:pt x="334949" y="569506"/>
                </a:lnTo>
                <a:lnTo>
                  <a:pt x="335064" y="579462"/>
                </a:lnTo>
                <a:lnTo>
                  <a:pt x="333794" y="595071"/>
                </a:lnTo>
                <a:lnTo>
                  <a:pt x="328295" y="605663"/>
                </a:lnTo>
                <a:lnTo>
                  <a:pt x="317817" y="611238"/>
                </a:lnTo>
                <a:lnTo>
                  <a:pt x="301599" y="612406"/>
                </a:lnTo>
                <a:lnTo>
                  <a:pt x="281559" y="613041"/>
                </a:lnTo>
                <a:lnTo>
                  <a:pt x="270065" y="618363"/>
                </a:lnTo>
                <a:lnTo>
                  <a:pt x="264782" y="630250"/>
                </a:lnTo>
                <a:lnTo>
                  <a:pt x="263398" y="650544"/>
                </a:lnTo>
                <a:lnTo>
                  <a:pt x="264337" y="673519"/>
                </a:lnTo>
                <a:lnTo>
                  <a:pt x="269621" y="686523"/>
                </a:lnTo>
                <a:lnTo>
                  <a:pt x="282168" y="692162"/>
                </a:lnTo>
                <a:lnTo>
                  <a:pt x="304914" y="693064"/>
                </a:lnTo>
                <a:lnTo>
                  <a:pt x="320027" y="694690"/>
                </a:lnTo>
                <a:lnTo>
                  <a:pt x="329565" y="700417"/>
                </a:lnTo>
                <a:lnTo>
                  <a:pt x="334289" y="710425"/>
                </a:lnTo>
                <a:lnTo>
                  <a:pt x="334975" y="724903"/>
                </a:lnTo>
                <a:lnTo>
                  <a:pt x="334403" y="736968"/>
                </a:lnTo>
                <a:lnTo>
                  <a:pt x="334327" y="749084"/>
                </a:lnTo>
                <a:lnTo>
                  <a:pt x="340982" y="787565"/>
                </a:lnTo>
                <a:lnTo>
                  <a:pt x="380784" y="805218"/>
                </a:lnTo>
                <a:lnTo>
                  <a:pt x="395566" y="802182"/>
                </a:lnTo>
                <a:lnTo>
                  <a:pt x="415925" y="769607"/>
                </a:lnTo>
                <a:lnTo>
                  <a:pt x="416674" y="749084"/>
                </a:lnTo>
                <a:lnTo>
                  <a:pt x="416648" y="736968"/>
                </a:lnTo>
                <a:lnTo>
                  <a:pt x="416090" y="726363"/>
                </a:lnTo>
                <a:lnTo>
                  <a:pt x="416509" y="711238"/>
                </a:lnTo>
                <a:lnTo>
                  <a:pt x="421259" y="700684"/>
                </a:lnTo>
                <a:lnTo>
                  <a:pt x="431165" y="694639"/>
                </a:lnTo>
                <a:lnTo>
                  <a:pt x="447103" y="693026"/>
                </a:lnTo>
                <a:lnTo>
                  <a:pt x="467461" y="691807"/>
                </a:lnTo>
                <a:lnTo>
                  <a:pt x="479590" y="685647"/>
                </a:lnTo>
                <a:lnTo>
                  <a:pt x="485419" y="673023"/>
                </a:lnTo>
                <a:lnTo>
                  <a:pt x="486905" y="652437"/>
                </a:lnTo>
                <a:lnTo>
                  <a:pt x="485406" y="631850"/>
                </a:lnTo>
                <a:lnTo>
                  <a:pt x="479234" y="619887"/>
                </a:lnTo>
                <a:lnTo>
                  <a:pt x="465645" y="614057"/>
                </a:lnTo>
                <a:lnTo>
                  <a:pt x="441934" y="611860"/>
                </a:lnTo>
                <a:lnTo>
                  <a:pt x="433641" y="611733"/>
                </a:lnTo>
                <a:lnTo>
                  <a:pt x="425818" y="610603"/>
                </a:lnTo>
                <a:lnTo>
                  <a:pt x="419976" y="606437"/>
                </a:lnTo>
                <a:lnTo>
                  <a:pt x="417639" y="597154"/>
                </a:lnTo>
                <a:lnTo>
                  <a:pt x="418985" y="587197"/>
                </a:lnTo>
                <a:lnTo>
                  <a:pt x="454520" y="571563"/>
                </a:lnTo>
                <a:lnTo>
                  <a:pt x="461530" y="571601"/>
                </a:lnTo>
                <a:lnTo>
                  <a:pt x="468528" y="571715"/>
                </a:lnTo>
                <a:lnTo>
                  <a:pt x="504748" y="571728"/>
                </a:lnTo>
                <a:lnTo>
                  <a:pt x="507326" y="571563"/>
                </a:lnTo>
                <a:lnTo>
                  <a:pt x="540639" y="569506"/>
                </a:lnTo>
                <a:lnTo>
                  <a:pt x="576072" y="563486"/>
                </a:lnTo>
                <a:lnTo>
                  <a:pt x="653592" y="527634"/>
                </a:lnTo>
                <a:lnTo>
                  <a:pt x="685977" y="495592"/>
                </a:lnTo>
                <a:lnTo>
                  <a:pt x="711339" y="453224"/>
                </a:lnTo>
                <a:lnTo>
                  <a:pt x="724725" y="405841"/>
                </a:lnTo>
                <a:lnTo>
                  <a:pt x="726668" y="353314"/>
                </a:lnTo>
                <a:close/>
              </a:path>
              <a:path w="982344" h="984885">
                <a:moveTo>
                  <a:pt x="982306" y="493255"/>
                </a:moveTo>
                <a:lnTo>
                  <a:pt x="979906" y="446887"/>
                </a:lnTo>
                <a:lnTo>
                  <a:pt x="973201" y="401421"/>
                </a:lnTo>
                <a:lnTo>
                  <a:pt x="962431" y="357263"/>
                </a:lnTo>
                <a:lnTo>
                  <a:pt x="947801" y="314629"/>
                </a:lnTo>
                <a:lnTo>
                  <a:pt x="929538" y="273748"/>
                </a:lnTo>
                <a:lnTo>
                  <a:pt x="907834" y="234848"/>
                </a:lnTo>
                <a:lnTo>
                  <a:pt x="882916" y="198132"/>
                </a:lnTo>
                <a:lnTo>
                  <a:pt x="871258" y="183807"/>
                </a:lnTo>
                <a:lnTo>
                  <a:pt x="871258" y="495122"/>
                </a:lnTo>
                <a:lnTo>
                  <a:pt x="868210" y="544474"/>
                </a:lnTo>
                <a:lnTo>
                  <a:pt x="859739" y="591400"/>
                </a:lnTo>
                <a:lnTo>
                  <a:pt x="846124" y="635660"/>
                </a:lnTo>
                <a:lnTo>
                  <a:pt x="827709" y="676973"/>
                </a:lnTo>
                <a:lnTo>
                  <a:pt x="804773" y="715098"/>
                </a:lnTo>
                <a:lnTo>
                  <a:pt x="777633" y="749757"/>
                </a:lnTo>
                <a:lnTo>
                  <a:pt x="746594" y="780719"/>
                </a:lnTo>
                <a:lnTo>
                  <a:pt x="711974" y="807720"/>
                </a:lnTo>
                <a:lnTo>
                  <a:pt x="674077" y="830491"/>
                </a:lnTo>
                <a:lnTo>
                  <a:pt x="633209" y="848791"/>
                </a:lnTo>
                <a:lnTo>
                  <a:pt x="589661" y="862355"/>
                </a:lnTo>
                <a:lnTo>
                  <a:pt x="543775" y="870915"/>
                </a:lnTo>
                <a:lnTo>
                  <a:pt x="495833" y="874242"/>
                </a:lnTo>
                <a:lnTo>
                  <a:pt x="446506" y="871791"/>
                </a:lnTo>
                <a:lnTo>
                  <a:pt x="399300" y="863434"/>
                </a:lnTo>
                <a:lnTo>
                  <a:pt x="354520" y="849579"/>
                </a:lnTo>
                <a:lnTo>
                  <a:pt x="312496" y="830605"/>
                </a:lnTo>
                <a:lnTo>
                  <a:pt x="273532" y="806881"/>
                </a:lnTo>
                <a:lnTo>
                  <a:pt x="237972" y="778827"/>
                </a:lnTo>
                <a:lnTo>
                  <a:pt x="206133" y="746798"/>
                </a:lnTo>
                <a:lnTo>
                  <a:pt x="178320" y="711212"/>
                </a:lnTo>
                <a:lnTo>
                  <a:pt x="154863" y="672439"/>
                </a:lnTo>
                <a:lnTo>
                  <a:pt x="136080" y="630859"/>
                </a:lnTo>
                <a:lnTo>
                  <a:pt x="122288" y="586879"/>
                </a:lnTo>
                <a:lnTo>
                  <a:pt x="113817" y="540880"/>
                </a:lnTo>
                <a:lnTo>
                  <a:pt x="110985" y="493255"/>
                </a:lnTo>
                <a:lnTo>
                  <a:pt x="114096" y="445160"/>
                </a:lnTo>
                <a:lnTo>
                  <a:pt x="122999" y="398830"/>
                </a:lnTo>
                <a:lnTo>
                  <a:pt x="137312" y="354609"/>
                </a:lnTo>
                <a:lnTo>
                  <a:pt x="156641" y="312902"/>
                </a:lnTo>
                <a:lnTo>
                  <a:pt x="180594" y="274066"/>
                </a:lnTo>
                <a:lnTo>
                  <a:pt x="208762" y="238506"/>
                </a:lnTo>
                <a:lnTo>
                  <a:pt x="240753" y="206565"/>
                </a:lnTo>
                <a:lnTo>
                  <a:pt x="276199" y="178650"/>
                </a:lnTo>
                <a:lnTo>
                  <a:pt x="314680" y="155130"/>
                </a:lnTo>
                <a:lnTo>
                  <a:pt x="355815" y="136385"/>
                </a:lnTo>
                <a:lnTo>
                  <a:pt x="399211" y="122796"/>
                </a:lnTo>
                <a:lnTo>
                  <a:pt x="444461" y="114731"/>
                </a:lnTo>
                <a:lnTo>
                  <a:pt x="491197" y="112572"/>
                </a:lnTo>
                <a:lnTo>
                  <a:pt x="537387" y="114706"/>
                </a:lnTo>
                <a:lnTo>
                  <a:pt x="582320" y="122339"/>
                </a:lnTo>
                <a:lnTo>
                  <a:pt x="625551" y="135204"/>
                </a:lnTo>
                <a:lnTo>
                  <a:pt x="666686" y="153060"/>
                </a:lnTo>
                <a:lnTo>
                  <a:pt x="705269" y="175641"/>
                </a:lnTo>
                <a:lnTo>
                  <a:pt x="740892" y="202679"/>
                </a:lnTo>
                <a:lnTo>
                  <a:pt x="773112" y="233921"/>
                </a:lnTo>
                <a:lnTo>
                  <a:pt x="801509" y="269100"/>
                </a:lnTo>
                <a:lnTo>
                  <a:pt x="825665" y="307975"/>
                </a:lnTo>
                <a:lnTo>
                  <a:pt x="845146" y="350278"/>
                </a:lnTo>
                <a:lnTo>
                  <a:pt x="859523" y="395732"/>
                </a:lnTo>
                <a:lnTo>
                  <a:pt x="868362" y="444106"/>
                </a:lnTo>
                <a:lnTo>
                  <a:pt x="871258" y="495122"/>
                </a:lnTo>
                <a:lnTo>
                  <a:pt x="871258" y="183807"/>
                </a:lnTo>
                <a:lnTo>
                  <a:pt x="855002" y="163830"/>
                </a:lnTo>
                <a:lnTo>
                  <a:pt x="824293" y="132156"/>
                </a:lnTo>
                <a:lnTo>
                  <a:pt x="801674" y="112572"/>
                </a:lnTo>
                <a:lnTo>
                  <a:pt x="791019" y="103339"/>
                </a:lnTo>
                <a:lnTo>
                  <a:pt x="755396" y="77597"/>
                </a:lnTo>
                <a:lnTo>
                  <a:pt x="717613" y="55143"/>
                </a:lnTo>
                <a:lnTo>
                  <a:pt x="677900" y="36207"/>
                </a:lnTo>
                <a:lnTo>
                  <a:pt x="636485" y="21005"/>
                </a:lnTo>
                <a:lnTo>
                  <a:pt x="593559" y="9753"/>
                </a:lnTo>
                <a:lnTo>
                  <a:pt x="549351" y="2679"/>
                </a:lnTo>
                <a:lnTo>
                  <a:pt x="504063" y="0"/>
                </a:lnTo>
                <a:lnTo>
                  <a:pt x="456958" y="1727"/>
                </a:lnTo>
                <a:lnTo>
                  <a:pt x="410845" y="7670"/>
                </a:lnTo>
                <a:lnTo>
                  <a:pt x="365925" y="17665"/>
                </a:lnTo>
                <a:lnTo>
                  <a:pt x="322478" y="31534"/>
                </a:lnTo>
                <a:lnTo>
                  <a:pt x="280720" y="49123"/>
                </a:lnTo>
                <a:lnTo>
                  <a:pt x="240906" y="70243"/>
                </a:lnTo>
                <a:lnTo>
                  <a:pt x="203263" y="94767"/>
                </a:lnTo>
                <a:lnTo>
                  <a:pt x="168046" y="122491"/>
                </a:lnTo>
                <a:lnTo>
                  <a:pt x="135496" y="153263"/>
                </a:lnTo>
                <a:lnTo>
                  <a:pt x="105854" y="186918"/>
                </a:lnTo>
                <a:lnTo>
                  <a:pt x="79349" y="223291"/>
                </a:lnTo>
                <a:lnTo>
                  <a:pt x="56248" y="262204"/>
                </a:lnTo>
                <a:lnTo>
                  <a:pt x="36766" y="303517"/>
                </a:lnTo>
                <a:lnTo>
                  <a:pt x="21158" y="347027"/>
                </a:lnTo>
                <a:lnTo>
                  <a:pt x="9664" y="392595"/>
                </a:lnTo>
                <a:lnTo>
                  <a:pt x="2540" y="440042"/>
                </a:lnTo>
                <a:lnTo>
                  <a:pt x="0" y="489216"/>
                </a:lnTo>
                <a:lnTo>
                  <a:pt x="2260" y="539915"/>
                </a:lnTo>
                <a:lnTo>
                  <a:pt x="9194" y="588695"/>
                </a:lnTo>
                <a:lnTo>
                  <a:pt x="20535" y="635393"/>
                </a:lnTo>
                <a:lnTo>
                  <a:pt x="36017" y="679869"/>
                </a:lnTo>
                <a:lnTo>
                  <a:pt x="55346" y="721969"/>
                </a:lnTo>
                <a:lnTo>
                  <a:pt x="78282" y="761517"/>
                </a:lnTo>
                <a:lnTo>
                  <a:pt x="104546" y="798372"/>
                </a:lnTo>
                <a:lnTo>
                  <a:pt x="133858" y="832396"/>
                </a:lnTo>
                <a:lnTo>
                  <a:pt x="166014" y="863434"/>
                </a:lnTo>
                <a:lnTo>
                  <a:pt x="200571" y="891247"/>
                </a:lnTo>
                <a:lnTo>
                  <a:pt x="237439" y="915784"/>
                </a:lnTo>
                <a:lnTo>
                  <a:pt x="276275" y="936866"/>
                </a:lnTo>
                <a:lnTo>
                  <a:pt x="316826" y="954316"/>
                </a:lnTo>
                <a:lnTo>
                  <a:pt x="358813" y="967994"/>
                </a:lnTo>
                <a:lnTo>
                  <a:pt x="401967" y="977734"/>
                </a:lnTo>
                <a:lnTo>
                  <a:pt x="446024" y="983386"/>
                </a:lnTo>
                <a:lnTo>
                  <a:pt x="490702" y="984808"/>
                </a:lnTo>
                <a:lnTo>
                  <a:pt x="535774" y="983983"/>
                </a:lnTo>
                <a:lnTo>
                  <a:pt x="580148" y="978547"/>
                </a:lnTo>
                <a:lnTo>
                  <a:pt x="623557" y="968730"/>
                </a:lnTo>
                <a:lnTo>
                  <a:pt x="665746" y="954747"/>
                </a:lnTo>
                <a:lnTo>
                  <a:pt x="706437" y="936802"/>
                </a:lnTo>
                <a:lnTo>
                  <a:pt x="745363" y="915149"/>
                </a:lnTo>
                <a:lnTo>
                  <a:pt x="782281" y="889965"/>
                </a:lnTo>
                <a:lnTo>
                  <a:pt x="816914" y="861504"/>
                </a:lnTo>
                <a:lnTo>
                  <a:pt x="849007" y="829970"/>
                </a:lnTo>
                <a:lnTo>
                  <a:pt x="878281" y="795578"/>
                </a:lnTo>
                <a:lnTo>
                  <a:pt x="904481" y="758558"/>
                </a:lnTo>
                <a:lnTo>
                  <a:pt x="927341" y="719124"/>
                </a:lnTo>
                <a:lnTo>
                  <a:pt x="946594" y="677494"/>
                </a:lnTo>
                <a:lnTo>
                  <a:pt x="961986" y="633895"/>
                </a:lnTo>
                <a:lnTo>
                  <a:pt x="973239" y="588543"/>
                </a:lnTo>
                <a:lnTo>
                  <a:pt x="980109" y="541655"/>
                </a:lnTo>
                <a:lnTo>
                  <a:pt x="982243" y="495122"/>
                </a:lnTo>
                <a:lnTo>
                  <a:pt x="982306" y="493255"/>
                </a:lnTo>
                <a:close/>
              </a:path>
            </a:pathLst>
          </a:custGeom>
          <a:solidFill>
            <a:srgbClr val="CAE4C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Прямоугольник 1"/>
          <p:cNvSpPr/>
          <p:nvPr/>
        </p:nvSpPr>
        <p:spPr>
          <a:xfrm>
            <a:off x="2998950" y="1296004"/>
            <a:ext cx="6096000" cy="152734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2700" marR="5080" algn="just">
              <a:lnSpc>
                <a:spcPct val="111100"/>
              </a:lnSpc>
              <a:spcBef>
                <a:spcPts val="100"/>
              </a:spcBef>
            </a:pPr>
            <a:r>
              <a:rPr lang="ru-RU" sz="1400" spc="7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В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случае, </a:t>
            </a:r>
            <a:r>
              <a:rPr lang="ru-RU" sz="1400" spc="6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если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о результатам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роведения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мероприятий </a:t>
            </a:r>
            <a:b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</a:b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о выявлению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равообладателя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объекта </a:t>
            </a:r>
            <a:r>
              <a:rPr lang="ru-RU" sz="1400" spc="6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недвижимости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равообладатель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не </a:t>
            </a:r>
            <a:r>
              <a:rPr lang="ru-RU" sz="1400" spc="3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выявлен, </a:t>
            </a:r>
            <a:r>
              <a:rPr lang="ru-RU" sz="1400" spc="3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возникают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основания </a:t>
            </a:r>
            <a:b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</a:b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для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риобретения права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государственной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или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муниципальной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6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собственности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3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на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такой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6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объект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3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на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основании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положений </a:t>
            </a:r>
            <a:r>
              <a:rPr lang="ru-RU" sz="1400" spc="-36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5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Гражданского</a:t>
            </a:r>
            <a:r>
              <a:rPr lang="ru-RU" sz="1400" spc="-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5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кодекса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7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Российской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Федерации,</a:t>
            </a:r>
            <a:r>
              <a:rPr lang="ru-RU" sz="1400" spc="-40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а</a:t>
            </a:r>
            <a:r>
              <a:rPr lang="ru-RU" sz="1400" spc="-4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 </a:t>
            </a:r>
            <a:r>
              <a:rPr lang="ru-RU" sz="1400" spc="35" dirty="0">
                <a:solidFill>
                  <a:schemeClr val="accent1">
                    <a:lumMod val="75000"/>
                  </a:schemeClr>
                </a:solidFill>
                <a:latin typeface="Tahoma"/>
                <a:cs typeface="Tahoma"/>
              </a:rPr>
              <a:t>именно: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Tahom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405571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lide Number Placeholder 6">
            <a:extLst>
              <a:ext uri="{FF2B5EF4-FFF2-40B4-BE49-F238E27FC236}">
                <a16:creationId xmlns=""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>
                <a:defRPr/>
              </a:pPr>
              <a:t>6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xmlns="" id="{39F09F66-1085-4855-8DC5-F9637EFDA1F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smtClean="0">
                <a:solidFill>
                  <a:schemeClr val="tx2"/>
                </a:solidFill>
              </a:rPr>
              <a:t>ПЕРЕЧЕНЬ ПОРУЧЕНИЙ ПРЕЗИДЕНТА РОССИЙСКОЙ ФЕДЕРАЦИИ</a:t>
            </a:r>
            <a:endParaRPr lang="ru-RU" sz="2400" b="1" dirty="0">
              <a:solidFill>
                <a:schemeClr val="tx2"/>
              </a:solidFill>
            </a:endParaRPr>
          </a:p>
        </p:txBody>
      </p:sp>
      <p:pic>
        <p:nvPicPr>
          <p:cNvPr id="8" name="Picture 2" descr="C:\Users\salabaeva_sv\Desktop\Vladimir_Putin_17-11-2021_(cropped_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7876" y="959295"/>
            <a:ext cx="2751155" cy="3804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2C9E52AD-2BE6-1942-93B1-080FA31773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262247" y="4021405"/>
            <a:ext cx="1524624" cy="1524624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6E016218-29C4-5B4D-B617-25C574914622}"/>
              </a:ext>
            </a:extLst>
          </p:cNvPr>
          <p:cNvSpPr/>
          <p:nvPr/>
        </p:nvSpPr>
        <p:spPr>
          <a:xfrm>
            <a:off x="380527" y="1073523"/>
            <a:ext cx="8193260" cy="2047895"/>
          </a:xfrm>
          <a:prstGeom prst="rect">
            <a:avLst/>
          </a:prstGeom>
        </p:spPr>
        <p:txBody>
          <a:bodyPr wrap="square" lIns="77748" tIns="38875" rIns="77748" bIns="38875">
            <a:spAutoFit/>
          </a:bodyPr>
          <a:lstStyle/>
          <a:p>
            <a:pPr algn="just" defTabSz="777465">
              <a:buClr>
                <a:srgbClr val="00B050"/>
              </a:buClr>
              <a:tabLst>
                <a:tab pos="120648" algn="l"/>
                <a:tab pos="241294" algn="l"/>
              </a:tabLst>
              <a:defRPr/>
            </a:pPr>
            <a:r>
              <a:rPr lang="ru-RU" sz="2133" b="1" dirty="0" smtClean="0"/>
              <a:t>			В </a:t>
            </a:r>
            <a:r>
              <a:rPr lang="ru-RU" sz="2133" b="1" dirty="0"/>
              <a:t>соответствии с </a:t>
            </a:r>
            <a:r>
              <a:rPr lang="ru-RU" sz="2133" b="1" dirty="0">
                <a:solidFill>
                  <a:schemeClr val="tx2"/>
                </a:solidFill>
              </a:rPr>
              <a:t>перечнем поручения Президента Российской Федерации В.В. Путина от </a:t>
            </a:r>
            <a:r>
              <a:rPr lang="ru-RU" sz="2133" b="1" dirty="0">
                <a:solidFill>
                  <a:srgbClr val="00B050"/>
                </a:solidFill>
              </a:rPr>
              <a:t>11.08.2022 </a:t>
            </a:r>
            <a:br>
              <a:rPr lang="ru-RU" sz="2133" b="1" dirty="0">
                <a:solidFill>
                  <a:srgbClr val="00B050"/>
                </a:solidFill>
              </a:rPr>
            </a:br>
            <a:r>
              <a:rPr lang="ru-RU" sz="2133" b="1" dirty="0">
                <a:solidFill>
                  <a:srgbClr val="00B050"/>
                </a:solidFill>
              </a:rPr>
              <a:t>№ Пр-1424</a:t>
            </a:r>
            <a:r>
              <a:rPr lang="ru-RU" sz="2133" b="1" dirty="0">
                <a:solidFill>
                  <a:schemeClr val="tx2"/>
                </a:solidFill>
              </a:rPr>
              <a:t> по вопросам реализации государственной программы Российской Федерации «Национальная система пространственных данных» </a:t>
            </a:r>
            <a:r>
              <a:rPr lang="ru-RU" sz="2133" b="1" dirty="0" smtClean="0"/>
              <a:t>регионам </a:t>
            </a:r>
            <a:r>
              <a:rPr lang="ru-RU" sz="2133" b="1" dirty="0"/>
              <a:t>необходимо: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86871" y="3121418"/>
            <a:ext cx="9940028" cy="3169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33" dirty="0" smtClean="0"/>
              <a:t>	до </a:t>
            </a:r>
            <a:r>
              <a:rPr lang="ru-RU" sz="1733" dirty="0"/>
              <a:t>1 января 2027 года обеспечить завершение </a:t>
            </a:r>
          </a:p>
          <a:p>
            <a:r>
              <a:rPr lang="ru-RU" sz="1733" dirty="0"/>
              <a:t>   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-</a:t>
            </a:r>
            <a:r>
              <a:rPr lang="ru-RU" sz="1733" dirty="0"/>
              <a:t> работ по описанию местоположения </a:t>
            </a:r>
          </a:p>
          <a:p>
            <a:r>
              <a:rPr lang="ru-RU" sz="1733" dirty="0"/>
              <a:t>      границ муниципальных образований, населенных пунктов, </a:t>
            </a:r>
          </a:p>
          <a:p>
            <a:r>
              <a:rPr lang="ru-RU" sz="1733" dirty="0"/>
              <a:t>      территориальных зон и направление сведений </a:t>
            </a:r>
            <a:br>
              <a:rPr lang="ru-RU" sz="1733" dirty="0"/>
            </a:br>
            <a:r>
              <a:rPr lang="ru-RU" sz="1733" dirty="0"/>
              <a:t>      о местоположении таких границ для внесения </a:t>
            </a:r>
          </a:p>
          <a:p>
            <a:r>
              <a:rPr lang="ru-RU" sz="1733" dirty="0"/>
              <a:t>      в Единый государственный реестр недвижимости;</a:t>
            </a:r>
          </a:p>
          <a:p>
            <a:r>
              <a:rPr lang="ru-RU" sz="1733" dirty="0"/>
              <a:t>    </a:t>
            </a:r>
            <a:r>
              <a:rPr lang="ru-RU" sz="2400" dirty="0">
                <a:solidFill>
                  <a:schemeClr val="accent4">
                    <a:lumMod val="75000"/>
                  </a:schemeClr>
                </a:solidFill>
              </a:rPr>
              <a:t>-</a:t>
            </a:r>
            <a:r>
              <a:rPr lang="ru-RU" sz="1733" dirty="0"/>
              <a:t> обеспечить завершение мероприятий по выявлению правообладателей ранее учтенных  </a:t>
            </a:r>
            <a:r>
              <a:rPr lang="ru-RU" sz="1733" dirty="0">
                <a:solidFill>
                  <a:schemeClr val="bg1"/>
                </a:solidFill>
              </a:rPr>
              <a:t>ттт </a:t>
            </a:r>
            <a:r>
              <a:rPr lang="ru-RU" sz="1733" dirty="0"/>
              <a:t>объектов недвижимости;</a:t>
            </a:r>
          </a:p>
          <a:p>
            <a:endParaRPr lang="ru-RU" sz="1333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33" dirty="0" smtClean="0"/>
              <a:t>	предусматривать </a:t>
            </a:r>
            <a:r>
              <a:rPr lang="ru-RU" sz="1733" dirty="0"/>
              <a:t>в бюджетах регионов средства на финансирование (</a:t>
            </a:r>
            <a:r>
              <a:rPr lang="ru-RU" sz="1733" dirty="0" err="1"/>
              <a:t>софинансирование</a:t>
            </a:r>
            <a:r>
              <a:rPr lang="ru-RU" sz="1733" dirty="0"/>
              <a:t>) комплексных кадастровых работ и картографических работ.</a:t>
            </a:r>
          </a:p>
        </p:txBody>
      </p:sp>
    </p:spTree>
    <p:extLst>
      <p:ext uri="{BB962C8B-B14F-4D97-AF65-F5344CB8AC3E}">
        <p14:creationId xmlns:p14="http://schemas.microsoft.com/office/powerpoint/2010/main" val="3577375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448800" y="6302372"/>
            <a:ext cx="2743200" cy="365125"/>
          </a:xfrm>
        </p:spPr>
        <p:txBody>
          <a:bodyPr/>
          <a:lstStyle/>
          <a:p>
            <a:pPr>
              <a:defRPr/>
            </a:pPr>
            <a:fld id="{2AEBC476-9252-C343-9FCE-489A77E2EA66}" type="slidenum">
              <a:rPr lang="ru-RU" smtClean="0"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</a:rPr>
              <a:pPr>
                <a:defRPr/>
              </a:pPr>
              <a:t>7</a:t>
            </a:fld>
            <a:endParaRPr lang="ru-RU" dirty="0"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kern="0" dirty="0">
                <a:solidFill>
                  <a:srgbClr val="007AFF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Исполнение поручений Президента Российской Федерации </a:t>
            </a:r>
            <a:br>
              <a:rPr lang="ru-RU" kern="0" dirty="0">
                <a:solidFill>
                  <a:srgbClr val="007AFF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</a:br>
            <a:r>
              <a:rPr lang="ru-RU" kern="0" dirty="0">
                <a:solidFill>
                  <a:srgbClr val="007AFF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от 11.08.2022 № </a:t>
            </a:r>
            <a:r>
              <a:rPr lang="ru-RU" kern="0" dirty="0" smtClean="0">
                <a:solidFill>
                  <a:srgbClr val="007AFF"/>
                </a:solidFill>
                <a:ea typeface="Times New Roman" panose="02020603050405020304" pitchFamily="18" charset="0"/>
                <a:cs typeface="Segoe UI" panose="020B0502040204020203" pitchFamily="34" charset="0"/>
              </a:rPr>
              <a:t>Пр-1424</a:t>
            </a:r>
            <a:endParaRPr lang="ru-RU" dirty="0"/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xmlns="" id="{03154E12-6468-C50E-16F4-5A2E81E97044}"/>
              </a:ext>
            </a:extLst>
          </p:cNvPr>
          <p:cNvSpPr/>
          <p:nvPr/>
        </p:nvSpPr>
        <p:spPr>
          <a:xfrm>
            <a:off x="240299" y="978616"/>
            <a:ext cx="5617577" cy="763287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5659">
              <a:defRPr/>
            </a:pPr>
            <a:r>
              <a:rPr lang="ru-RU" sz="1600" b="1" dirty="0" smtClean="0">
                <a:solidFill>
                  <a:srgbClr val="FFFFFF"/>
                </a:solidFill>
              </a:rPr>
              <a:t>ВЫПОЛНЕНИЕ ПЛАНА-ГРАФИКА </a:t>
            </a:r>
            <a:br>
              <a:rPr lang="ru-RU" sz="1600" b="1" dirty="0" smtClean="0">
                <a:solidFill>
                  <a:srgbClr val="FFFFFF"/>
                </a:solidFill>
              </a:rPr>
            </a:br>
            <a:r>
              <a:rPr lang="ru-RU" sz="1600" b="1" dirty="0" smtClean="0">
                <a:solidFill>
                  <a:srgbClr val="FFFFFF"/>
                </a:solidFill>
              </a:rPr>
              <a:t>ПО ВЫЯВЛЕНИЮ ПРАВООБЛАДАТЕЛЕЙ РУОН*</a:t>
            </a:r>
            <a:endParaRPr lang="ru-RU" sz="500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0299" y="6552932"/>
            <a:ext cx="67290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65659">
              <a:defRPr/>
            </a:pPr>
            <a:r>
              <a:rPr lang="ru-RU" sz="1200" dirty="0" smtClean="0">
                <a:solidFill>
                  <a:srgbClr val="FFFFFF">
                    <a:lumMod val="50000"/>
                  </a:srgbClr>
                </a:solidFill>
              </a:rPr>
              <a:t>* Ранее учтенные объекты недвижимости</a:t>
            </a:r>
            <a:r>
              <a:rPr lang="ru-RU" sz="1200" dirty="0">
                <a:solidFill>
                  <a:srgbClr val="FFFFFF">
                    <a:lumMod val="50000"/>
                  </a:srgbClr>
                </a:solidFill>
              </a:rPr>
              <a:t> </a:t>
            </a:r>
            <a:endParaRPr lang="ru-RU" sz="1200" dirty="0" smtClean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Стрелка вправо 12"/>
          <p:cNvSpPr/>
          <p:nvPr/>
        </p:nvSpPr>
        <p:spPr>
          <a:xfrm rot="5400000">
            <a:off x="2574764" y="1829906"/>
            <a:ext cx="514966" cy="433680"/>
          </a:xfrm>
          <a:prstGeom prst="rightArrow">
            <a:avLst/>
          </a:prstGeom>
          <a:gradFill flip="none" rotWithShape="1">
            <a:gsLst>
              <a:gs pos="56800">
                <a:srgbClr val="00B0F0"/>
              </a:gs>
              <a:gs pos="0">
                <a:schemeClr val="tx2"/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244">
              <a:solidFill>
                <a:srgbClr val="FFFFFF"/>
              </a:solidFill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xmlns="" id="{09FEA501-3037-8550-8E59-215A96F61A8C}"/>
              </a:ext>
            </a:extLst>
          </p:cNvPr>
          <p:cNvSpPr>
            <a:spLocks/>
          </p:cNvSpPr>
          <p:nvPr/>
        </p:nvSpPr>
        <p:spPr>
          <a:xfrm>
            <a:off x="390050" y="2351589"/>
            <a:ext cx="5467826" cy="4153983"/>
          </a:xfrm>
          <a:prstGeom prst="roundRect">
            <a:avLst>
              <a:gd name="adj" fmla="val 10384"/>
            </a:avLst>
          </a:prstGeom>
          <a:solidFill>
            <a:schemeClr val="bg1"/>
          </a:solidFill>
          <a:ln w="22225" cap="flat" cmpd="sng" algn="ctr">
            <a:gradFill>
              <a:gsLst>
                <a:gs pos="0">
                  <a:srgbClr val="00FFCC"/>
                </a:gs>
                <a:gs pos="100000">
                  <a:schemeClr val="accent1"/>
                </a:gs>
              </a:gsLst>
              <a:lin ang="5400000" scaled="1"/>
            </a:gradFill>
            <a:prstDash val="solid"/>
            <a:miter lim="800000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lIns="91416" tIns="45719" rIns="91416" bIns="45719" rtlCol="0" anchor="ctr"/>
          <a:lstStyle/>
          <a:p>
            <a:pPr defTabSz="914105"/>
            <a:endParaRPr lang="ru-RU" sz="1500" dirty="0">
              <a:solidFill>
                <a:srgbClr val="3B3B3B"/>
              </a:solidFill>
              <a:latin typeface=" Arial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79802" y="2508031"/>
            <a:ext cx="5088321" cy="104065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65670"/>
            <a:r>
              <a:rPr lang="ru-RU" b="1" dirty="0" smtClean="0">
                <a:solidFill>
                  <a:srgbClr val="FFFFFF"/>
                </a:solidFill>
                <a:cs typeface="Segoe UI Semibold" panose="020B0502040204020203" pitchFamily="34" charset="0"/>
              </a:rPr>
              <a:t>Общее количество выявленных записей без правообладателей на территории Московской области –  </a:t>
            </a:r>
            <a:r>
              <a:rPr lang="ru-RU" b="1" dirty="0">
                <a:solidFill>
                  <a:srgbClr val="FFFFFF"/>
                </a:solidFill>
                <a:cs typeface="Segoe UI Semibold" panose="020B0502040204020203" pitchFamily="34" charset="0"/>
              </a:rPr>
              <a:t>796 892</a:t>
            </a:r>
          </a:p>
        </p:txBody>
      </p:sp>
      <p:sp>
        <p:nvSpPr>
          <p:cNvPr id="32" name="Slide Number Placeholder 6">
            <a:extLst>
              <a:ext uri="{FF2B5EF4-FFF2-40B4-BE49-F238E27FC236}">
                <a16:creationId xmlns:a16="http://schemas.microsoft.com/office/drawing/2014/main" xmlns="" id="{49AA9F89-8FE7-453C-8FBE-FAF4AE20A961}"/>
              </a:ext>
            </a:extLst>
          </p:cNvPr>
          <p:cNvSpPr txBox="1">
            <a:spLocks/>
          </p:cNvSpPr>
          <p:nvPr/>
        </p:nvSpPr>
        <p:spPr bwMode="auto">
          <a:xfrm>
            <a:off x="9448800" y="6302372"/>
            <a:ext cx="2743200" cy="365125"/>
          </a:xfrm>
          <a:prstGeom prst="rect">
            <a:avLst/>
          </a:prstGeom>
          <a:effectLst/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b="1" kern="1200">
                <a:solidFill>
                  <a:schemeClr val="bg2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5659">
              <a:defRPr/>
            </a:pPr>
            <a:fld id="{35ACA335-37F7-42C7-872A-92C3D7072F89}" type="slidenum">
              <a:rPr lang="ru-RU" smtClean="0">
                <a:solidFill>
                  <a:srgbClr val="FFFFFF"/>
                </a:solidFill>
                <a:effectLst>
                  <a:glow rad="101600">
                    <a:srgbClr val="008CFF">
                      <a:satMod val="175000"/>
                      <a:alpha val="40000"/>
                    </a:srgbClr>
                  </a:glow>
                </a:effectLst>
              </a:rPr>
              <a:pPr defTabSz="465659">
                <a:defRPr/>
              </a:pPr>
              <a:t>7</a:t>
            </a:fld>
            <a:endParaRPr lang="ru-RU" dirty="0">
              <a:solidFill>
                <a:srgbClr val="FFFFFF"/>
              </a:solidFill>
              <a:effectLst>
                <a:glow rad="101600">
                  <a:srgbClr val="008CFF">
                    <a:satMod val="175000"/>
                    <a:alpha val="40000"/>
                  </a:srgbClr>
                </a:glow>
              </a:effectLst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xmlns="" id="{C62CC7CE-93ED-2CA2-4A69-B2023875A0C1}"/>
              </a:ext>
            </a:extLst>
          </p:cNvPr>
          <p:cNvSpPr/>
          <p:nvPr/>
        </p:nvSpPr>
        <p:spPr>
          <a:xfrm>
            <a:off x="6266461" y="838204"/>
            <a:ext cx="5544539" cy="746885"/>
          </a:xfrm>
          <a:prstGeom prst="roundRect">
            <a:avLst/>
          </a:prstGeom>
          <a:solidFill>
            <a:srgbClr val="00D6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74630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349261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523892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698523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873154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047785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222415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397045" algn="l" defTabSz="349261" rtl="0" eaLnBrk="1" latinLnBrk="0" hangingPunct="1">
              <a:defRPr sz="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65670"/>
            <a:r>
              <a:rPr lang="ru-RU" sz="1600" b="1" dirty="0">
                <a:solidFill>
                  <a:srgbClr val="FFFFFF"/>
                </a:solidFill>
              </a:rPr>
              <a:t>    </a:t>
            </a:r>
            <a:r>
              <a:rPr lang="en-US" sz="1600" b="1" dirty="0">
                <a:solidFill>
                  <a:srgbClr val="FFFFFF"/>
                </a:solidFill>
              </a:rPr>
              <a:t>    </a:t>
            </a:r>
            <a:r>
              <a:rPr lang="ru-RU" sz="1600" b="1" dirty="0">
                <a:solidFill>
                  <a:srgbClr val="FFFFFF"/>
                </a:solidFill>
              </a:rPr>
              <a:t>ФЕДЕРАЛЬНЫЙ </a:t>
            </a:r>
            <a:r>
              <a:rPr lang="ru-RU" sz="1600" b="1" dirty="0" smtClean="0">
                <a:solidFill>
                  <a:srgbClr val="FFFFFF"/>
                </a:solidFill>
              </a:rPr>
              <a:t>ЗАКОН О </a:t>
            </a:r>
            <a:r>
              <a:rPr lang="ru-RU" sz="1600" b="1" dirty="0">
                <a:solidFill>
                  <a:srgbClr val="FFFFFF"/>
                </a:solidFill>
              </a:rPr>
              <a:t>ВЫЯВЛЕНИИ </a:t>
            </a:r>
            <a:r>
              <a:rPr lang="ru-RU" sz="1600" b="1" dirty="0" smtClean="0">
                <a:solidFill>
                  <a:srgbClr val="FFFFFF"/>
                </a:solidFill>
              </a:rPr>
              <a:t>ПРАВООБЛАДАТЕЛЕЙ РУОН</a:t>
            </a:r>
            <a:endParaRPr lang="ru-RU" sz="1600" b="1" dirty="0">
              <a:solidFill>
                <a:srgbClr val="FFFFFF"/>
              </a:solidFill>
            </a:endParaRPr>
          </a:p>
        </p:txBody>
      </p:sp>
      <p:pic>
        <p:nvPicPr>
          <p:cNvPr id="34" name="Graphic 269">
            <a:extLst>
              <a:ext uri="{FF2B5EF4-FFF2-40B4-BE49-F238E27FC236}">
                <a16:creationId xmlns:a16="http://schemas.microsoft.com/office/drawing/2014/main" xmlns="" id="{B8DE08E3-8411-4F9E-9B57-5B964457AE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423207" y="915506"/>
            <a:ext cx="632724" cy="5832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graphicFrame>
        <p:nvGraphicFramePr>
          <p:cNvPr id="38" name="Таблица 11">
            <a:extLst>
              <a:ext uri="{FF2B5EF4-FFF2-40B4-BE49-F238E27FC236}">
                <a16:creationId xmlns:a16="http://schemas.microsoft.com/office/drawing/2014/main" xmlns="" id="{BAEAB667-7DE2-4FC0-BE72-B030598023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266461" y="1605424"/>
          <a:ext cx="5811239" cy="1635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0473">
                  <a:extLst>
                    <a:ext uri="{9D8B030D-6E8A-4147-A177-3AD203B41FA5}">
                      <a16:colId xmlns:a16="http://schemas.microsoft.com/office/drawing/2014/main" xmlns="" val="509728764"/>
                    </a:ext>
                  </a:extLst>
                </a:gridCol>
                <a:gridCol w="2230766">
                  <a:extLst>
                    <a:ext uri="{9D8B030D-6E8A-4147-A177-3AD203B41FA5}">
                      <a16:colId xmlns:a16="http://schemas.microsoft.com/office/drawing/2014/main" xmlns="" val="1099421807"/>
                    </a:ext>
                  </a:extLst>
                </a:gridCol>
              </a:tblGrid>
              <a:tr h="355567">
                <a:tc gridSpan="2">
                  <a:txBody>
                    <a:bodyPr/>
                    <a:lstStyle/>
                    <a:p>
                      <a:pPr marL="0" marR="0" lvl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Поступило заявлений о выявлении правообладателей</a:t>
                      </a:r>
                      <a:r>
                        <a:rPr lang="ru-RU" sz="13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от ОМС</a:t>
                      </a:r>
                      <a:endParaRPr lang="ru-RU" sz="13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7568270"/>
                  </a:ext>
                </a:extLst>
              </a:tr>
              <a:tr h="269334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оссийская Федерация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500 120</a:t>
                      </a:r>
                      <a:endParaRPr lang="en-GB" sz="13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8747855"/>
                  </a:ext>
                </a:extLst>
              </a:tr>
              <a:tr h="269334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Федеральный округ (ЦФО)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77 690</a:t>
                      </a:r>
                      <a:endParaRPr lang="en-GB" sz="13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8808772"/>
                  </a:ext>
                </a:extLst>
              </a:tr>
              <a:tr h="269334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Московская область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2875246"/>
                  </a:ext>
                </a:extLst>
              </a:tr>
              <a:tr h="269334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на 01.03.2024 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300*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9" name="Таблица 11">
            <a:extLst>
              <a:ext uri="{FF2B5EF4-FFF2-40B4-BE49-F238E27FC236}">
                <a16:creationId xmlns:a16="http://schemas.microsoft.com/office/drawing/2014/main" xmlns="" id="{BAEAB667-7DE2-4FC0-BE72-B030598023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266461" y="3548684"/>
          <a:ext cx="5811239" cy="1334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1915">
                  <a:extLst>
                    <a:ext uri="{9D8B030D-6E8A-4147-A177-3AD203B41FA5}">
                      <a16:colId xmlns:a16="http://schemas.microsoft.com/office/drawing/2014/main" xmlns="" val="509728764"/>
                    </a:ext>
                  </a:extLst>
                </a:gridCol>
                <a:gridCol w="2219324">
                  <a:extLst>
                    <a:ext uri="{9D8B030D-6E8A-4147-A177-3AD203B41FA5}">
                      <a16:colId xmlns:a16="http://schemas.microsoft.com/office/drawing/2014/main" xmlns="" val="1099421807"/>
                    </a:ext>
                  </a:extLst>
                </a:gridCol>
              </a:tblGrid>
              <a:tr h="345569">
                <a:tc gridSpan="2">
                  <a:txBody>
                    <a:bodyPr/>
                    <a:lstStyle/>
                    <a:p>
                      <a:pPr marL="0" marR="0" lvl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Поступило заявлений о снятии с</a:t>
                      </a:r>
                      <a:r>
                        <a:rPr lang="ru-RU" sz="13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учета</a:t>
                      </a:r>
                      <a:endParaRPr lang="ru-RU" sz="13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7568270"/>
                  </a:ext>
                </a:extLst>
              </a:tr>
              <a:tr h="337189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оссийская Федерация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300" b="1" kern="1200" baseline="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 330 295</a:t>
                      </a:r>
                      <a:endParaRPr lang="en-GB" sz="1300" b="1" kern="1200" dirty="0">
                        <a:solidFill>
                          <a:srgbClr val="00CC9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8747855"/>
                  </a:ext>
                </a:extLst>
              </a:tr>
              <a:tr h="326112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Федеральный округ (ЦФО)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167</a:t>
                      </a:r>
                      <a:r>
                        <a:rPr lang="ru-RU" sz="1300" b="1" kern="1200" baseline="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032 </a:t>
                      </a:r>
                      <a:endParaRPr lang="en-GB" sz="1300" b="1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8808772"/>
                  </a:ext>
                </a:extLst>
              </a:tr>
              <a:tr h="326112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осковская область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823</a:t>
                      </a:r>
                      <a:endParaRPr lang="en-GB" sz="13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2875246"/>
                  </a:ext>
                </a:extLst>
              </a:tr>
            </a:tbl>
          </a:graphicData>
        </a:graphic>
      </p:graphicFrame>
      <p:graphicFrame>
        <p:nvGraphicFramePr>
          <p:cNvPr id="40" name="Таблица 11">
            <a:extLst>
              <a:ext uri="{FF2B5EF4-FFF2-40B4-BE49-F238E27FC236}">
                <a16:creationId xmlns:a16="http://schemas.microsoft.com/office/drawing/2014/main" xmlns="" id="{BAEAB667-7DE2-4FC0-BE72-B0305980233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229350" y="5226794"/>
          <a:ext cx="5875604" cy="1334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0130">
                  <a:extLst>
                    <a:ext uri="{9D8B030D-6E8A-4147-A177-3AD203B41FA5}">
                      <a16:colId xmlns:a16="http://schemas.microsoft.com/office/drawing/2014/main" xmlns="" val="509728764"/>
                    </a:ext>
                  </a:extLst>
                </a:gridCol>
                <a:gridCol w="2255474">
                  <a:extLst>
                    <a:ext uri="{9D8B030D-6E8A-4147-A177-3AD203B41FA5}">
                      <a16:colId xmlns:a16="http://schemas.microsoft.com/office/drawing/2014/main" xmlns="" val="1099421807"/>
                    </a:ext>
                  </a:extLst>
                </a:gridCol>
              </a:tblGrid>
              <a:tr h="345569">
                <a:tc gridSpan="2">
                  <a:txBody>
                    <a:bodyPr/>
                    <a:lstStyle/>
                    <a:p>
                      <a:pPr marL="0" marR="0" lvl="0" indent="0" algn="ctr" defTabSz="9143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Зарегистрированы</a:t>
                      </a:r>
                      <a:r>
                        <a:rPr lang="ru-RU" sz="13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ранее возникшие права по заявлениям граждан</a:t>
                      </a:r>
                      <a:endParaRPr lang="ru-RU" sz="13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50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07568270"/>
                  </a:ext>
                </a:extLst>
              </a:tr>
              <a:tr h="337189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оссийская Федерация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300" b="1" kern="1200" baseline="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 248 095</a:t>
                      </a:r>
                      <a:endParaRPr lang="en-GB" sz="1300" b="1" kern="1200" dirty="0">
                        <a:solidFill>
                          <a:srgbClr val="00CC9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8747855"/>
                  </a:ext>
                </a:extLst>
              </a:tr>
              <a:tr h="326112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Федеральный округ (ЦФО)</a:t>
                      </a:r>
                      <a:endParaRPr kumimoji="0" lang="en-GB" sz="13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415</a:t>
                      </a:r>
                      <a:r>
                        <a:rPr lang="ru-RU" sz="1300" b="1" kern="1200" baseline="0" dirty="0" smtClean="0">
                          <a:solidFill>
                            <a:srgbClr val="008CFF"/>
                          </a:solidFill>
                          <a:latin typeface="+mn-lt"/>
                          <a:ea typeface="+mn-ea"/>
                          <a:cs typeface="+mn-cs"/>
                        </a:rPr>
                        <a:t> 493</a:t>
                      </a:r>
                      <a:endParaRPr lang="en-GB" sz="1300" b="1" kern="1200" dirty="0">
                        <a:solidFill>
                          <a:srgbClr val="00CC9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8808772"/>
                  </a:ext>
                </a:extLst>
              </a:tr>
              <a:tr h="326112">
                <a:tc>
                  <a:txBody>
                    <a:bodyPr/>
                    <a:lstStyle/>
                    <a:p>
                      <a:pPr marL="0" marR="0" lvl="0" indent="0" algn="l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осковская область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kern="1200" dirty="0" smtClean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54 622</a:t>
                      </a:r>
                      <a:endParaRPr lang="en-GB" sz="1300" b="1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FF9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287524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113456" y="3245602"/>
            <a:ext cx="16707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008CFF"/>
                </a:solidFill>
              </a:rPr>
              <a:t>*1 место по ЦФО</a:t>
            </a:r>
            <a:endParaRPr lang="ru-RU" sz="1400" b="1" dirty="0">
              <a:solidFill>
                <a:srgbClr val="008CFF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66487" y="3657061"/>
            <a:ext cx="5314950" cy="84772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74000"/>
                  <a:lumOff val="26000"/>
                </a:schemeClr>
              </a:gs>
              <a:gs pos="100000">
                <a:schemeClr val="accen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480774" y="4151013"/>
          <a:ext cx="5286376" cy="14515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35061"/>
                <a:gridCol w="1354931"/>
                <a:gridCol w="1353004"/>
                <a:gridCol w="1243380"/>
              </a:tblGrid>
              <a:tr h="62648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План 2023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Факт 2023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rgbClr val="4D4D4D"/>
                          </a:solidFill>
                        </a:rPr>
                        <a:t>остаток</a:t>
                      </a:r>
                      <a:r>
                        <a:rPr lang="ru-RU" sz="1400" baseline="0" dirty="0" smtClean="0">
                          <a:solidFill>
                            <a:srgbClr val="4D4D4D"/>
                          </a:solidFill>
                        </a:rPr>
                        <a:t> на </a:t>
                      </a:r>
                      <a:r>
                        <a:rPr lang="ru-RU" sz="1400" dirty="0" smtClean="0">
                          <a:solidFill>
                            <a:srgbClr val="4D4D4D"/>
                          </a:solidFill>
                        </a:rPr>
                        <a:t>01.01.2024</a:t>
                      </a:r>
                      <a:endParaRPr lang="ru-RU" sz="1400" dirty="0">
                        <a:solidFill>
                          <a:srgbClr val="4D4D4D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План 2024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2501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87 522</a:t>
                      </a:r>
                      <a:endParaRPr lang="ru-RU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88 926 </a:t>
                      </a:r>
                      <a:r>
                        <a:rPr lang="ru-RU" sz="1600" b="1" dirty="0" smtClean="0">
                          <a:solidFill>
                            <a:schemeClr val="accent2"/>
                          </a:solidFill>
                        </a:rPr>
                        <a:t>(100,7%)</a:t>
                      </a:r>
                      <a:endParaRPr lang="ru-RU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4D4D4D"/>
                          </a:solidFill>
                        </a:rPr>
                        <a:t>607 966</a:t>
                      </a:r>
                      <a:endParaRPr lang="ru-RU" sz="1600" b="1" dirty="0">
                        <a:solidFill>
                          <a:srgbClr val="4D4D4D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87 504</a:t>
                      </a:r>
                      <a:endParaRPr lang="ru-RU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66487" y="3733800"/>
            <a:ext cx="53149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FFFF"/>
                </a:solidFill>
              </a:rPr>
              <a:t>ИСПОЛНЕНИЕ ПЛАН-ГРАФИКА РУОН</a:t>
            </a:r>
            <a:endParaRPr lang="ru-RU" sz="1600" b="1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44098" y="5836227"/>
            <a:ext cx="46376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8CFF"/>
                </a:solidFill>
              </a:rPr>
              <a:t>НАЛОГОВЫЙ ЭФФЕКТ:  </a:t>
            </a:r>
            <a:r>
              <a:rPr lang="ru-RU" sz="2000" b="1" dirty="0" smtClean="0">
                <a:solidFill>
                  <a:srgbClr val="00CC99"/>
                </a:solidFill>
              </a:rPr>
              <a:t>200 </a:t>
            </a:r>
            <a:r>
              <a:rPr lang="ru-RU" sz="1400" b="1" dirty="0" smtClean="0">
                <a:solidFill>
                  <a:srgbClr val="00CC99"/>
                </a:solidFill>
              </a:rPr>
              <a:t>млн. руб.</a:t>
            </a:r>
            <a:endParaRPr lang="ru-RU" sz="1400" b="1" dirty="0">
              <a:solidFill>
                <a:srgbClr val="00CC99"/>
              </a:solidFill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13ACE955-F19E-4850-B5DE-E4910FE0C1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901" y="5635505"/>
            <a:ext cx="801555" cy="801555"/>
          </a:xfrm>
          <a:prstGeom prst="rect">
            <a:avLst/>
          </a:prstGeom>
        </p:spPr>
      </p:pic>
      <p:pic>
        <p:nvPicPr>
          <p:cNvPr id="23" name="Graphic 401">
            <a:extLst>
              <a:ext uri="{FF2B5EF4-FFF2-40B4-BE49-F238E27FC236}">
                <a16:creationId xmlns="" xmlns:a16="http://schemas.microsoft.com/office/drawing/2014/main" id="{E565C34A-D0CB-48B2-9C44-CC7D54C9661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105"/>
              </a:ext>
            </a:extLst>
          </a:blip>
          <a:stretch>
            <a:fillRect/>
          </a:stretch>
        </p:blipFill>
        <p:spPr>
          <a:xfrm>
            <a:off x="817516" y="5739120"/>
            <a:ext cx="594324" cy="59432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6371236" y="4857802"/>
            <a:ext cx="58207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solidFill>
                  <a:srgbClr val="008CFF"/>
                </a:solidFill>
              </a:rPr>
              <a:t>сняты с учета как дубли </a:t>
            </a:r>
            <a:r>
              <a:rPr lang="ru-RU" sz="1400" b="1" dirty="0" smtClean="0">
                <a:solidFill>
                  <a:srgbClr val="4D4D4D"/>
                </a:solidFill>
              </a:rPr>
              <a:t>– </a:t>
            </a:r>
            <a:r>
              <a:rPr lang="ru-RU" sz="1600" b="1" dirty="0" smtClean="0">
                <a:solidFill>
                  <a:srgbClr val="4D4D4D"/>
                </a:solidFill>
              </a:rPr>
              <a:t>74 794</a:t>
            </a:r>
            <a:endParaRPr lang="en-GB" sz="1600" b="1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234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24" y="8237"/>
            <a:ext cx="12187875" cy="698886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0529" y="2174789"/>
            <a:ext cx="1346887" cy="122331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12775" y="3423344"/>
            <a:ext cx="1917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ru-RU" sz="1400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ТГ чат 518-ФЗ</a:t>
            </a:r>
            <a:endParaRPr lang="ru-RU" sz="1400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sp>
        <p:nvSpPr>
          <p:cNvPr id="2" name="AutoShape 2" descr="blob:https://web.whatsapp.com/0a4a7dbd-a92f-4312-8193-e51cd7374e76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blob:https://web.whatsapp.com/0a4a7dbd-a92f-4312-8193-e51cd7374e76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blob:https://web.whatsapp.com/0a4a7dbd-a92f-4312-8193-e51cd7374e76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blob:https://web.whatsapp.com/0a4a7dbd-a92f-4312-8193-e51cd7374e76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TextBox 12"/>
          <p:cNvSpPr txBox="1"/>
          <p:nvPr/>
        </p:nvSpPr>
        <p:spPr bwMode="auto">
          <a:xfrm>
            <a:off x="3537017" y="3488752"/>
            <a:ext cx="872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ru-RU" sz="1400" dirty="0" smtClean="0">
                <a:ln w="12700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pattFill prst="narHorz">
                  <a:fgClr>
                    <a:schemeClr val="accent3"/>
                  </a:fgClr>
                  <a:bgClr>
                    <a:schemeClr val="accent3">
                      <a:lumMod val="40000"/>
                      <a:lumOff val="60000"/>
                    </a:schemeClr>
                  </a:bgClr>
                </a:pattFill>
                <a:effectLst>
                  <a:innerShdw blurRad="177800">
                    <a:schemeClr val="accent3">
                      <a:lumMod val="50000"/>
                    </a:schemeClr>
                  </a:innerShdw>
                </a:effectLst>
              </a:rPr>
              <a:t>518-ФЗ</a:t>
            </a:r>
            <a:endParaRPr lang="ru-RU" sz="1400" dirty="0">
              <a:ln w="12700">
                <a:solidFill>
                  <a:schemeClr val="accent3">
                    <a:lumMod val="50000"/>
                  </a:schemeClr>
                </a:solidFill>
                <a:prstDash val="solid"/>
              </a:ln>
              <a:pattFill prst="narHorz">
                <a:fgClr>
                  <a:schemeClr val="accent3"/>
                </a:fgClr>
                <a:bgClr>
                  <a:schemeClr val="accent3">
                    <a:lumMod val="40000"/>
                    <a:lumOff val="60000"/>
                  </a:schemeClr>
                </a:bgClr>
              </a:pattFill>
              <a:effectLst>
                <a:innerShdw blurRad="177800">
                  <a:schemeClr val="accent3">
                    <a:lumMod val="50000"/>
                  </a:schemeClr>
                </a:innerShdw>
              </a:effectLst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0032" y="2149553"/>
            <a:ext cx="1346887" cy="1248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83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Шаблон">
  <a:themeElements>
    <a:clrScheme name="Custom 17">
      <a:dk1>
        <a:srgbClr val="008CFF"/>
      </a:dk1>
      <a:lt1>
        <a:srgbClr val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" id="{EE3B7C56-B755-41EF-B669-C2C8DF7AFB6E}" vid="{47A418CC-2947-4B56-AD63-8F711EAA87F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27</TotalTime>
  <Words>422</Words>
  <Application>Microsoft Office PowerPoint</Application>
  <PresentationFormat>Широкоэкранный</PresentationFormat>
  <Paragraphs>108</Paragraphs>
  <Slides>8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1" baseType="lpstr">
      <vt:lpstr> Arial</vt:lpstr>
      <vt:lpstr>Arial</vt:lpstr>
      <vt:lpstr>Calibri</vt:lpstr>
      <vt:lpstr>Calibri Light</vt:lpstr>
      <vt:lpstr>Segoe UI</vt:lpstr>
      <vt:lpstr>Segoe UI Semibold</vt:lpstr>
      <vt:lpstr>Tahoma</vt:lpstr>
      <vt:lpstr>Times New Roman</vt:lpstr>
      <vt:lpstr>Trebuchet MS</vt:lpstr>
      <vt:lpstr>Wingdings</vt:lpstr>
      <vt:lpstr>Тема Office</vt:lpstr>
      <vt:lpstr>5_Шаблон</vt:lpstr>
      <vt:lpstr>think-cell Slide</vt:lpstr>
      <vt:lpstr> Исполнение мероприятий, предусмотренных Федеральным законом  № 518-ФЗ от 30.12.2020   </vt:lpstr>
      <vt:lpstr>Основные этапы мероприятий по выявлению правообладателей ранее учтенных объектов</vt:lpstr>
      <vt:lpstr>Направления реализации 518-ФЗ</vt:lpstr>
      <vt:lpstr>                      Федеральный закон № 397-ФЗ от 31.07.2023                               «Выявление правообладателей 2.0»</vt:lpstr>
      <vt:lpstr>Что делать, если правообладатель не выявлен?</vt:lpstr>
      <vt:lpstr>ПЕРЕЧЕНЬ ПОРУЧЕНИЙ ПРЕЗИДЕНТА РОССИЙСКОЙ ФЕДЕРАЦИИ</vt:lpstr>
      <vt:lpstr>Исполнение поручений Президента Российской Федерации  от 11.08.2022 № Пр-1424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Отдел координации и анализа деятельности в учетно-регистрационной сфере итоги работы 2023   </dc:title>
  <dc:creator>Скрябина Ольга Николаевна</dc:creator>
  <cp:lastModifiedBy>Скрябина Ольга Николаевна</cp:lastModifiedBy>
  <cp:revision>12</cp:revision>
  <cp:lastPrinted>2024-03-18T11:46:53Z</cp:lastPrinted>
  <dcterms:created xsi:type="dcterms:W3CDTF">2024-03-12T11:10:39Z</dcterms:created>
  <dcterms:modified xsi:type="dcterms:W3CDTF">2024-03-27T08:13:00Z</dcterms:modified>
</cp:coreProperties>
</file>